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6" r:id="rId2"/>
    <p:sldMasterId id="2147483688" r:id="rId3"/>
    <p:sldMasterId id="2147483690" r:id="rId4"/>
  </p:sldMasterIdLst>
  <p:notesMasterIdLst>
    <p:notesMasterId r:id="rId20"/>
  </p:notesMasterIdLst>
  <p:sldIdLst>
    <p:sldId id="274" r:id="rId5"/>
    <p:sldId id="290" r:id="rId6"/>
    <p:sldId id="310" r:id="rId7"/>
    <p:sldId id="296" r:id="rId8"/>
    <p:sldId id="303" r:id="rId9"/>
    <p:sldId id="305" r:id="rId10"/>
    <p:sldId id="306" r:id="rId11"/>
    <p:sldId id="307" r:id="rId12"/>
    <p:sldId id="257" r:id="rId13"/>
    <p:sldId id="276" r:id="rId14"/>
    <p:sldId id="283" r:id="rId15"/>
    <p:sldId id="286" r:id="rId16"/>
    <p:sldId id="287" r:id="rId17"/>
    <p:sldId id="308" r:id="rId18"/>
    <p:sldId id="304" r:id="rId19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Смоленская Виктория Алексеевна" initials="СВА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620"/>
    <p:restoredTop sz="98705" autoAdjust="0"/>
  </p:normalViewPr>
  <p:slideViewPr>
    <p:cSldViewPr>
      <p:cViewPr>
        <p:scale>
          <a:sx n="100" d="100"/>
          <a:sy n="100" d="100"/>
        </p:scale>
        <p:origin x="-282" y="49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8237370-A50D-4452-919A-687EBB33EC8F}" type="doc">
      <dgm:prSet loTypeId="urn:microsoft.com/office/officeart/2005/8/layout/radial4" loCatId="relationship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4BE0036-2272-4E01-ABB8-C3E2E21820E5}">
      <dgm:prSet phldrT="[Текст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600" b="1" strike="sngStrike" dirty="0" smtClean="0">
              <a:solidFill>
                <a:srgbClr val="FF0000"/>
              </a:solidFill>
            </a:rPr>
            <a:t>Паспорт сделки</a:t>
          </a:r>
        </a:p>
        <a:p>
          <a:r>
            <a:rPr lang="ru-RU" sz="1600" b="1" dirty="0" smtClean="0">
              <a:solidFill>
                <a:srgbClr val="FF0000"/>
              </a:solidFill>
            </a:rPr>
            <a:t>Теперь:</a:t>
          </a:r>
        </a:p>
        <a:p>
          <a:r>
            <a:rPr lang="ru-RU" sz="1600" b="1" u="sng" dirty="0" smtClean="0">
              <a:solidFill>
                <a:srgbClr val="FF0000"/>
              </a:solidFill>
            </a:rPr>
            <a:t>Уникальный номер</a:t>
          </a:r>
          <a:endParaRPr lang="ru-RU" sz="1600" b="1" u="sng" dirty="0">
            <a:solidFill>
              <a:srgbClr val="FF0000"/>
            </a:solidFill>
          </a:endParaRPr>
        </a:p>
      </dgm:t>
    </dgm:pt>
    <dgm:pt modelId="{96E706AC-1FEC-484E-B2FA-2D0A4A99A194}" type="parTrans" cxnId="{B9C52BD0-7970-4CA4-B41D-D8F9C0163C89}">
      <dgm:prSet/>
      <dgm:spPr/>
      <dgm:t>
        <a:bodyPr/>
        <a:lstStyle/>
        <a:p>
          <a:endParaRPr lang="ru-RU"/>
        </a:p>
      </dgm:t>
    </dgm:pt>
    <dgm:pt modelId="{5A2640D0-4091-41FD-B337-BB88DAD05801}" type="sibTrans" cxnId="{B9C52BD0-7970-4CA4-B41D-D8F9C0163C89}">
      <dgm:prSet/>
      <dgm:spPr/>
      <dgm:t>
        <a:bodyPr/>
        <a:lstStyle/>
        <a:p>
          <a:endParaRPr lang="ru-RU"/>
        </a:p>
      </dgm:t>
    </dgm:pt>
    <dgm:pt modelId="{04237464-9BAB-4D1F-9247-A259F867B8BE}">
      <dgm:prSet phldrT="[Текст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1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Договоры об экспорте/импорте товаров</a:t>
          </a:r>
        </a:p>
        <a:p>
          <a:r>
            <a:rPr lang="ru-RU" sz="11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1100" b="0" i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(в </a:t>
          </a:r>
          <a:r>
            <a:rPr lang="ru-RU" sz="1100" b="0" i="1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т.ч</a:t>
          </a:r>
          <a:r>
            <a:rPr lang="ru-RU" sz="1100" b="0" i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. агентские договоры, договоры комиссии, договоры поручения</a:t>
          </a:r>
          <a:r>
            <a:rPr lang="ru-RU" sz="900" b="0" i="1" dirty="0" smtClean="0"/>
            <a:t>)</a:t>
          </a:r>
          <a:endParaRPr lang="ru-RU" sz="900" b="1" dirty="0" smtClean="0"/>
        </a:p>
        <a:p>
          <a:endParaRPr lang="ru-RU" sz="900" b="1" dirty="0"/>
        </a:p>
      </dgm:t>
    </dgm:pt>
    <dgm:pt modelId="{854040C3-3250-4CA3-81F1-85774385DB3E}" type="parTrans" cxnId="{C8A22F60-02D6-4DDC-8A7F-D8ACA1057754}">
      <dgm:prSet/>
      <dgm:spPr/>
      <dgm:t>
        <a:bodyPr/>
        <a:lstStyle/>
        <a:p>
          <a:endParaRPr lang="ru-RU"/>
        </a:p>
      </dgm:t>
    </dgm:pt>
    <dgm:pt modelId="{C0568EA8-79D0-4A32-8DDA-69607B6F02F7}" type="sibTrans" cxnId="{C8A22F60-02D6-4DDC-8A7F-D8ACA1057754}">
      <dgm:prSet/>
      <dgm:spPr/>
      <dgm:t>
        <a:bodyPr/>
        <a:lstStyle/>
        <a:p>
          <a:endParaRPr lang="ru-RU"/>
        </a:p>
      </dgm:t>
    </dgm:pt>
    <dgm:pt modelId="{84F40493-59CA-43AB-8EBC-64D7752E7CF1}">
      <dgm:prSet phldrT="[Текст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Договоры </a:t>
          </a:r>
        </a:p>
        <a:p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 оказании услуг</a:t>
          </a:r>
        </a:p>
        <a:p>
          <a:r>
            <a:rPr lang="ru-RU" sz="900" b="0" i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(в </a:t>
          </a:r>
          <a:r>
            <a:rPr lang="ru-RU" sz="900" b="0" i="1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т.ч</a:t>
          </a:r>
          <a:r>
            <a:rPr lang="ru-RU" sz="900" b="0" i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. агентские договоры, договоры комиссии, договоры поручения)</a:t>
          </a:r>
          <a:endParaRPr lang="ru-RU" sz="900" b="0" i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9EAAED4-9A0E-4AFC-927F-C1E8285DE040}" type="parTrans" cxnId="{C2C9F205-16C8-4F09-A445-170306616ED8}">
      <dgm:prSet/>
      <dgm:spPr/>
      <dgm:t>
        <a:bodyPr/>
        <a:lstStyle/>
        <a:p>
          <a:endParaRPr lang="ru-RU"/>
        </a:p>
      </dgm:t>
    </dgm:pt>
    <dgm:pt modelId="{337E3CCE-BAE2-4D2C-BA82-0103BDD2642E}" type="sibTrans" cxnId="{C2C9F205-16C8-4F09-A445-170306616ED8}">
      <dgm:prSet/>
      <dgm:spPr/>
      <dgm:t>
        <a:bodyPr/>
        <a:lstStyle/>
        <a:p>
          <a:endParaRPr lang="ru-RU"/>
        </a:p>
      </dgm:t>
    </dgm:pt>
    <dgm:pt modelId="{13CDCCE9-F77D-42EE-8139-A171FFE6C98A}">
      <dgm:prSet phldrT="[Текст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1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Договоры передачи движимого /недвижимого имущества </a:t>
          </a:r>
        </a:p>
        <a:p>
          <a:r>
            <a:rPr lang="ru-RU" sz="11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 договору аренды/лизинга</a:t>
          </a:r>
        </a:p>
        <a:p>
          <a:endParaRPr lang="ru-RU" sz="900" b="1" dirty="0"/>
        </a:p>
      </dgm:t>
    </dgm:pt>
    <dgm:pt modelId="{6376FBAD-124A-4FB8-867C-6C5AADB1797F}" type="parTrans" cxnId="{143FD436-945A-455E-907A-3ED44C0AD24A}">
      <dgm:prSet/>
      <dgm:spPr/>
      <dgm:t>
        <a:bodyPr/>
        <a:lstStyle/>
        <a:p>
          <a:endParaRPr lang="ru-RU"/>
        </a:p>
      </dgm:t>
    </dgm:pt>
    <dgm:pt modelId="{D93D0184-F52A-49C2-86A3-7EFB489CC5C3}" type="sibTrans" cxnId="{143FD436-945A-455E-907A-3ED44C0AD24A}">
      <dgm:prSet/>
      <dgm:spPr/>
      <dgm:t>
        <a:bodyPr/>
        <a:lstStyle/>
        <a:p>
          <a:endParaRPr lang="ru-RU"/>
        </a:p>
      </dgm:t>
    </dgm:pt>
    <dgm:pt modelId="{E192BF30-9925-47F4-8B34-AE1D8CF61829}">
      <dgm:prSet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1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Кредитные договоры/</a:t>
          </a:r>
        </a:p>
        <a:p>
          <a:r>
            <a:rPr lang="ru-RU" sz="11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договоры займа</a:t>
          </a:r>
          <a:endParaRPr lang="ru-RU" sz="11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57FD6C1-2517-478A-9B84-45602E3EB4C9}" type="parTrans" cxnId="{3DEB79BD-CBB9-40B8-B2E7-9FE4AB589320}">
      <dgm:prSet/>
      <dgm:spPr/>
      <dgm:t>
        <a:bodyPr/>
        <a:lstStyle/>
        <a:p>
          <a:endParaRPr lang="ru-RU"/>
        </a:p>
      </dgm:t>
    </dgm:pt>
    <dgm:pt modelId="{535B84E1-F4A5-4A76-A6BE-813F6DCDB497}" type="sibTrans" cxnId="{3DEB79BD-CBB9-40B8-B2E7-9FE4AB589320}">
      <dgm:prSet/>
      <dgm:spPr/>
      <dgm:t>
        <a:bodyPr/>
        <a:lstStyle/>
        <a:p>
          <a:endParaRPr lang="ru-RU"/>
        </a:p>
      </dgm:t>
    </dgm:pt>
    <dgm:pt modelId="{305F3B80-585E-415D-97B9-A822872FA2EC}">
      <dgm:prSet phldrT="[Текст]" custRadScaleRad="108366" custRadScaleInc="-19614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ru-RU"/>
        </a:p>
      </dgm:t>
    </dgm:pt>
    <dgm:pt modelId="{797284E1-F5A8-47EA-87D0-567EA762E8F2}" type="parTrans" cxnId="{28FF7B03-FB8A-412A-AA1D-4B478DD1A0A3}">
      <dgm:prSet/>
      <dgm:spPr/>
      <dgm:t>
        <a:bodyPr/>
        <a:lstStyle/>
        <a:p>
          <a:endParaRPr lang="ru-RU"/>
        </a:p>
      </dgm:t>
    </dgm:pt>
    <dgm:pt modelId="{877058F2-0C59-4DF0-B793-EEFAED41A4A0}" type="sibTrans" cxnId="{28FF7B03-FB8A-412A-AA1D-4B478DD1A0A3}">
      <dgm:prSet/>
      <dgm:spPr/>
      <dgm:t>
        <a:bodyPr/>
        <a:lstStyle/>
        <a:p>
          <a:endParaRPr lang="ru-RU"/>
        </a:p>
      </dgm:t>
    </dgm:pt>
    <dgm:pt modelId="{DB490643-535D-4296-AF56-5D0C2F5527E1}">
      <dgm:prSet phldrT="[Текст]" custRadScaleRad="108366" custRadScaleInc="-19614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ru-RU"/>
        </a:p>
      </dgm:t>
    </dgm:pt>
    <dgm:pt modelId="{092A9175-1D92-404B-B7A5-CF8821707040}" type="parTrans" cxnId="{4884CA82-95EA-47EA-9737-9F02D666F309}">
      <dgm:prSet/>
      <dgm:spPr/>
      <dgm:t>
        <a:bodyPr/>
        <a:lstStyle/>
        <a:p>
          <a:endParaRPr lang="ru-RU"/>
        </a:p>
      </dgm:t>
    </dgm:pt>
    <dgm:pt modelId="{AAC0D29C-560A-4F85-8BED-A5DD97100EE3}" type="sibTrans" cxnId="{4884CA82-95EA-47EA-9737-9F02D666F309}">
      <dgm:prSet/>
      <dgm:spPr/>
      <dgm:t>
        <a:bodyPr/>
        <a:lstStyle/>
        <a:p>
          <a:endParaRPr lang="ru-RU"/>
        </a:p>
      </dgm:t>
    </dgm:pt>
    <dgm:pt modelId="{D9DA1D2C-7293-4EE0-A6C6-C7DFF6FADB0F}">
      <dgm:prSet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Договоры на продажу/приобретение и (или) оказание услуг, связанных с продажей/приобретением ГСМ и иных МТЗ, необходимых для эксплуатации ТС в пути</a:t>
          </a:r>
          <a:endParaRPr lang="ru-RU" sz="1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59A0139-854B-4FDA-94D6-2A3440243E54}" type="parTrans" cxnId="{CD8C1E39-CA6D-4A19-AB8D-F4C5F1090FF4}">
      <dgm:prSet/>
      <dgm:spPr/>
      <dgm:t>
        <a:bodyPr/>
        <a:lstStyle/>
        <a:p>
          <a:endParaRPr lang="ru-RU"/>
        </a:p>
      </dgm:t>
    </dgm:pt>
    <dgm:pt modelId="{6DA122E1-FAE3-4C45-AAD7-9C5346EA573C}" type="sibTrans" cxnId="{CD8C1E39-CA6D-4A19-AB8D-F4C5F1090FF4}">
      <dgm:prSet/>
      <dgm:spPr/>
      <dgm:t>
        <a:bodyPr/>
        <a:lstStyle/>
        <a:p>
          <a:endParaRPr lang="ru-RU"/>
        </a:p>
      </dgm:t>
    </dgm:pt>
    <dgm:pt modelId="{59606C61-A572-49AD-9D92-204AC2B170D9}" type="pres">
      <dgm:prSet presAssocID="{98237370-A50D-4452-919A-687EBB33EC8F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96B2FC5-9308-49A8-887F-B75FA13AEE74}" type="pres">
      <dgm:prSet presAssocID="{34BE0036-2272-4E01-ABB8-C3E2E21820E5}" presName="centerShape" presStyleLbl="node0" presStyleIdx="0" presStyleCnt="1" custScaleX="154623" custScaleY="90174" custLinFactNeighborX="224" custLinFactNeighborY="167"/>
      <dgm:spPr/>
      <dgm:t>
        <a:bodyPr/>
        <a:lstStyle/>
        <a:p>
          <a:endParaRPr lang="ru-RU"/>
        </a:p>
      </dgm:t>
    </dgm:pt>
    <dgm:pt modelId="{0F13F508-2EDA-4C42-BC5B-30350B43D823}" type="pres">
      <dgm:prSet presAssocID="{854040C3-3250-4CA3-81F1-85774385DB3E}" presName="parTrans" presStyleLbl="bgSibTrans2D1" presStyleIdx="0" presStyleCnt="5"/>
      <dgm:spPr/>
      <dgm:t>
        <a:bodyPr/>
        <a:lstStyle/>
        <a:p>
          <a:endParaRPr lang="ru-RU"/>
        </a:p>
      </dgm:t>
    </dgm:pt>
    <dgm:pt modelId="{A37833FA-436F-4B82-B4E5-DAC8899D4358}" type="pres">
      <dgm:prSet presAssocID="{04237464-9BAB-4D1F-9247-A259F867B8BE}" presName="node" presStyleLbl="node1" presStyleIdx="0" presStyleCnt="5" custScaleX="138827" custScaleY="83290" custRadScaleRad="113941" custRadScaleInc="-423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57A127E-1678-41DA-A2BD-D9FE8F28E0A9}" type="pres">
      <dgm:prSet presAssocID="{59EAAED4-9A0E-4AFC-927F-C1E8285DE040}" presName="parTrans" presStyleLbl="bgSibTrans2D1" presStyleIdx="1" presStyleCnt="5"/>
      <dgm:spPr/>
      <dgm:t>
        <a:bodyPr/>
        <a:lstStyle/>
        <a:p>
          <a:endParaRPr lang="ru-RU"/>
        </a:p>
      </dgm:t>
    </dgm:pt>
    <dgm:pt modelId="{ED68CE5B-EC76-4E04-959F-9511A9F09FAA}" type="pres">
      <dgm:prSet presAssocID="{84F40493-59CA-43AB-8EBC-64D7752E7CF1}" presName="node" presStyleLbl="node1" presStyleIdx="1" presStyleCnt="5" custScaleX="113491" custScaleY="123314" custRadScaleRad="110318" custRadScaleInc="-1937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95E6A87-1494-4547-8806-8ABA6C73E014}" type="pres">
      <dgm:prSet presAssocID="{6376FBAD-124A-4FB8-867C-6C5AADB1797F}" presName="parTrans" presStyleLbl="bgSibTrans2D1" presStyleIdx="2" presStyleCnt="5" custAng="21494031" custScaleX="108902" custScaleY="98278" custLinFactNeighborX="-495" custLinFactNeighborY="-30512"/>
      <dgm:spPr/>
      <dgm:t>
        <a:bodyPr/>
        <a:lstStyle/>
        <a:p>
          <a:endParaRPr lang="ru-RU"/>
        </a:p>
      </dgm:t>
    </dgm:pt>
    <dgm:pt modelId="{9667FFBD-0D1F-4B9C-A1F4-B6270401D22D}" type="pres">
      <dgm:prSet presAssocID="{13CDCCE9-F77D-42EE-8139-A171FFE6C98A}" presName="node" presStyleLbl="node1" presStyleIdx="2" presStyleCnt="5" custAng="0" custScaleX="115456" custScaleY="96759" custRadScaleRad="98372" custRadScaleInc="478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1E9FF2-C969-46BF-B336-4F1CEA16C661}" type="pres">
      <dgm:prSet presAssocID="{057FD6C1-2517-478A-9B84-45602E3EB4C9}" presName="parTrans" presStyleLbl="bgSibTrans2D1" presStyleIdx="3" presStyleCnt="5"/>
      <dgm:spPr/>
      <dgm:t>
        <a:bodyPr/>
        <a:lstStyle/>
        <a:p>
          <a:endParaRPr lang="ru-RU"/>
        </a:p>
      </dgm:t>
    </dgm:pt>
    <dgm:pt modelId="{5A2DF050-30F0-4B42-98AF-D31E96527374}" type="pres">
      <dgm:prSet presAssocID="{E192BF30-9925-47F4-8B34-AE1D8CF61829}" presName="node" presStyleLbl="node1" presStyleIdx="3" presStyleCnt="5" custRadScaleRad="113131" custRadScaleInc="299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77650D-6D79-469B-9A28-C0F024CEC4A2}" type="pres">
      <dgm:prSet presAssocID="{F59A0139-854B-4FDA-94D6-2A3440243E54}" presName="parTrans" presStyleLbl="bgSibTrans2D1" presStyleIdx="4" presStyleCnt="5"/>
      <dgm:spPr/>
      <dgm:t>
        <a:bodyPr/>
        <a:lstStyle/>
        <a:p>
          <a:endParaRPr lang="ru-RU"/>
        </a:p>
      </dgm:t>
    </dgm:pt>
    <dgm:pt modelId="{A9E88CDE-0FCF-4E16-84B6-2B9BFA2392EC}" type="pres">
      <dgm:prSet presAssocID="{D9DA1D2C-7293-4EE0-A6C6-C7DFF6FADB0F}" presName="node" presStyleLbl="node1" presStyleIdx="4" presStyleCnt="5" custScaleX="150035" custScaleY="152975" custRadScaleRad="120823" custRadScaleInc="-63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4AE5ED5-0A4B-407E-95BB-C578138CFE4C}" type="presOf" srcId="{84F40493-59CA-43AB-8EBC-64D7752E7CF1}" destId="{ED68CE5B-EC76-4E04-959F-9511A9F09FAA}" srcOrd="0" destOrd="0" presId="urn:microsoft.com/office/officeart/2005/8/layout/radial4"/>
    <dgm:cxn modelId="{42E4BD2C-9C5C-4767-9C1B-89ACBC6DD7E3}" type="presOf" srcId="{34BE0036-2272-4E01-ABB8-C3E2E21820E5}" destId="{696B2FC5-9308-49A8-887F-B75FA13AEE74}" srcOrd="0" destOrd="0" presId="urn:microsoft.com/office/officeart/2005/8/layout/radial4"/>
    <dgm:cxn modelId="{CF6DF500-6802-424D-9728-1C44EF7AA3AF}" type="presOf" srcId="{057FD6C1-2517-478A-9B84-45602E3EB4C9}" destId="{F41E9FF2-C969-46BF-B336-4F1CEA16C661}" srcOrd="0" destOrd="0" presId="urn:microsoft.com/office/officeart/2005/8/layout/radial4"/>
    <dgm:cxn modelId="{3DEB79BD-CBB9-40B8-B2E7-9FE4AB589320}" srcId="{34BE0036-2272-4E01-ABB8-C3E2E21820E5}" destId="{E192BF30-9925-47F4-8B34-AE1D8CF61829}" srcOrd="3" destOrd="0" parTransId="{057FD6C1-2517-478A-9B84-45602E3EB4C9}" sibTransId="{535B84E1-F4A5-4A76-A6BE-813F6DCDB497}"/>
    <dgm:cxn modelId="{0E7BCC01-9D90-465B-A711-E84A3744F393}" type="presOf" srcId="{6376FBAD-124A-4FB8-867C-6C5AADB1797F}" destId="{295E6A87-1494-4547-8806-8ABA6C73E014}" srcOrd="0" destOrd="0" presId="urn:microsoft.com/office/officeart/2005/8/layout/radial4"/>
    <dgm:cxn modelId="{57CBB358-65C2-4A08-8342-4CF64652D0F8}" type="presOf" srcId="{854040C3-3250-4CA3-81F1-85774385DB3E}" destId="{0F13F508-2EDA-4C42-BC5B-30350B43D823}" srcOrd="0" destOrd="0" presId="urn:microsoft.com/office/officeart/2005/8/layout/radial4"/>
    <dgm:cxn modelId="{D4B25ECB-5CC2-4BD5-9D67-E3690A40DB4D}" type="presOf" srcId="{98237370-A50D-4452-919A-687EBB33EC8F}" destId="{59606C61-A572-49AD-9D92-204AC2B170D9}" srcOrd="0" destOrd="0" presId="urn:microsoft.com/office/officeart/2005/8/layout/radial4"/>
    <dgm:cxn modelId="{C2C9F205-16C8-4F09-A445-170306616ED8}" srcId="{34BE0036-2272-4E01-ABB8-C3E2E21820E5}" destId="{84F40493-59CA-43AB-8EBC-64D7752E7CF1}" srcOrd="1" destOrd="0" parTransId="{59EAAED4-9A0E-4AFC-927F-C1E8285DE040}" sibTransId="{337E3CCE-BAE2-4D2C-BA82-0103BDD2642E}"/>
    <dgm:cxn modelId="{2A9B8380-BA2C-491F-867C-B9664982A6D1}" type="presOf" srcId="{04237464-9BAB-4D1F-9247-A259F867B8BE}" destId="{A37833FA-436F-4B82-B4E5-DAC8899D4358}" srcOrd="0" destOrd="0" presId="urn:microsoft.com/office/officeart/2005/8/layout/radial4"/>
    <dgm:cxn modelId="{4884CA82-95EA-47EA-9737-9F02D666F309}" srcId="{98237370-A50D-4452-919A-687EBB33EC8F}" destId="{DB490643-535D-4296-AF56-5D0C2F5527E1}" srcOrd="2" destOrd="0" parTransId="{092A9175-1D92-404B-B7A5-CF8821707040}" sibTransId="{AAC0D29C-560A-4F85-8BED-A5DD97100EE3}"/>
    <dgm:cxn modelId="{143FD436-945A-455E-907A-3ED44C0AD24A}" srcId="{34BE0036-2272-4E01-ABB8-C3E2E21820E5}" destId="{13CDCCE9-F77D-42EE-8139-A171FFE6C98A}" srcOrd="2" destOrd="0" parTransId="{6376FBAD-124A-4FB8-867C-6C5AADB1797F}" sibTransId="{D93D0184-F52A-49C2-86A3-7EFB489CC5C3}"/>
    <dgm:cxn modelId="{28FF7B03-FB8A-412A-AA1D-4B478DD1A0A3}" srcId="{98237370-A50D-4452-919A-687EBB33EC8F}" destId="{305F3B80-585E-415D-97B9-A822872FA2EC}" srcOrd="1" destOrd="0" parTransId="{797284E1-F5A8-47EA-87D0-567EA762E8F2}" sibTransId="{877058F2-0C59-4DF0-B793-EEFAED41A4A0}"/>
    <dgm:cxn modelId="{C71F0A0C-E24D-4C06-A7ED-45D855F925E1}" type="presOf" srcId="{D9DA1D2C-7293-4EE0-A6C6-C7DFF6FADB0F}" destId="{A9E88CDE-0FCF-4E16-84B6-2B9BFA2392EC}" srcOrd="0" destOrd="0" presId="urn:microsoft.com/office/officeart/2005/8/layout/radial4"/>
    <dgm:cxn modelId="{B9C52BD0-7970-4CA4-B41D-D8F9C0163C89}" srcId="{98237370-A50D-4452-919A-687EBB33EC8F}" destId="{34BE0036-2272-4E01-ABB8-C3E2E21820E5}" srcOrd="0" destOrd="0" parTransId="{96E706AC-1FEC-484E-B2FA-2D0A4A99A194}" sibTransId="{5A2640D0-4091-41FD-B337-BB88DAD05801}"/>
    <dgm:cxn modelId="{CD8C1E39-CA6D-4A19-AB8D-F4C5F1090FF4}" srcId="{34BE0036-2272-4E01-ABB8-C3E2E21820E5}" destId="{D9DA1D2C-7293-4EE0-A6C6-C7DFF6FADB0F}" srcOrd="4" destOrd="0" parTransId="{F59A0139-854B-4FDA-94D6-2A3440243E54}" sibTransId="{6DA122E1-FAE3-4C45-AAD7-9C5346EA573C}"/>
    <dgm:cxn modelId="{8CE3ADFB-C212-4511-998E-B99396376DF9}" type="presOf" srcId="{59EAAED4-9A0E-4AFC-927F-C1E8285DE040}" destId="{F57A127E-1678-41DA-A2BD-D9FE8F28E0A9}" srcOrd="0" destOrd="0" presId="urn:microsoft.com/office/officeart/2005/8/layout/radial4"/>
    <dgm:cxn modelId="{8E65BCF2-7C8A-4ED1-98CF-2D81FC5A45DE}" type="presOf" srcId="{E192BF30-9925-47F4-8B34-AE1D8CF61829}" destId="{5A2DF050-30F0-4B42-98AF-D31E96527374}" srcOrd="0" destOrd="0" presId="urn:microsoft.com/office/officeart/2005/8/layout/radial4"/>
    <dgm:cxn modelId="{C8A22F60-02D6-4DDC-8A7F-D8ACA1057754}" srcId="{34BE0036-2272-4E01-ABB8-C3E2E21820E5}" destId="{04237464-9BAB-4D1F-9247-A259F867B8BE}" srcOrd="0" destOrd="0" parTransId="{854040C3-3250-4CA3-81F1-85774385DB3E}" sibTransId="{C0568EA8-79D0-4A32-8DDA-69607B6F02F7}"/>
    <dgm:cxn modelId="{E610160B-F154-4E8A-A8E9-99096FBAC878}" type="presOf" srcId="{F59A0139-854B-4FDA-94D6-2A3440243E54}" destId="{8077650D-6D79-469B-9A28-C0F024CEC4A2}" srcOrd="0" destOrd="0" presId="urn:microsoft.com/office/officeart/2005/8/layout/radial4"/>
    <dgm:cxn modelId="{D2F801D7-0DAC-45FE-8770-0C338D642F6C}" type="presOf" srcId="{13CDCCE9-F77D-42EE-8139-A171FFE6C98A}" destId="{9667FFBD-0D1F-4B9C-A1F4-B6270401D22D}" srcOrd="0" destOrd="0" presId="urn:microsoft.com/office/officeart/2005/8/layout/radial4"/>
    <dgm:cxn modelId="{983482B2-C56B-4382-BCA7-4FD8FC9333F1}" type="presParOf" srcId="{59606C61-A572-49AD-9D92-204AC2B170D9}" destId="{696B2FC5-9308-49A8-887F-B75FA13AEE74}" srcOrd="0" destOrd="0" presId="urn:microsoft.com/office/officeart/2005/8/layout/radial4"/>
    <dgm:cxn modelId="{AFF5C39E-F87C-46C9-8801-227D72A823F1}" type="presParOf" srcId="{59606C61-A572-49AD-9D92-204AC2B170D9}" destId="{0F13F508-2EDA-4C42-BC5B-30350B43D823}" srcOrd="1" destOrd="0" presId="urn:microsoft.com/office/officeart/2005/8/layout/radial4"/>
    <dgm:cxn modelId="{F80FFDA0-F22C-4A78-9597-3A633FBC6CF0}" type="presParOf" srcId="{59606C61-A572-49AD-9D92-204AC2B170D9}" destId="{A37833FA-436F-4B82-B4E5-DAC8899D4358}" srcOrd="2" destOrd="0" presId="urn:microsoft.com/office/officeart/2005/8/layout/radial4"/>
    <dgm:cxn modelId="{8EF5DA22-DB8F-44C3-829A-64D4505F2265}" type="presParOf" srcId="{59606C61-A572-49AD-9D92-204AC2B170D9}" destId="{F57A127E-1678-41DA-A2BD-D9FE8F28E0A9}" srcOrd="3" destOrd="0" presId="urn:microsoft.com/office/officeart/2005/8/layout/radial4"/>
    <dgm:cxn modelId="{7142B86D-8F0A-4AF4-92A3-2294BA7901F4}" type="presParOf" srcId="{59606C61-A572-49AD-9D92-204AC2B170D9}" destId="{ED68CE5B-EC76-4E04-959F-9511A9F09FAA}" srcOrd="4" destOrd="0" presId="urn:microsoft.com/office/officeart/2005/8/layout/radial4"/>
    <dgm:cxn modelId="{C1BAE3C9-E733-4132-AEAD-AFD82ECE777D}" type="presParOf" srcId="{59606C61-A572-49AD-9D92-204AC2B170D9}" destId="{295E6A87-1494-4547-8806-8ABA6C73E014}" srcOrd="5" destOrd="0" presId="urn:microsoft.com/office/officeart/2005/8/layout/radial4"/>
    <dgm:cxn modelId="{35382400-2B39-434F-B065-011DE9B7AB3B}" type="presParOf" srcId="{59606C61-A572-49AD-9D92-204AC2B170D9}" destId="{9667FFBD-0D1F-4B9C-A1F4-B6270401D22D}" srcOrd="6" destOrd="0" presId="urn:microsoft.com/office/officeart/2005/8/layout/radial4"/>
    <dgm:cxn modelId="{93D6A056-4688-49A4-B0A9-48BDD4BFA998}" type="presParOf" srcId="{59606C61-A572-49AD-9D92-204AC2B170D9}" destId="{F41E9FF2-C969-46BF-B336-4F1CEA16C661}" srcOrd="7" destOrd="0" presId="urn:microsoft.com/office/officeart/2005/8/layout/radial4"/>
    <dgm:cxn modelId="{348923C1-C71A-438C-8226-CCBD849471A5}" type="presParOf" srcId="{59606C61-A572-49AD-9D92-204AC2B170D9}" destId="{5A2DF050-30F0-4B42-98AF-D31E96527374}" srcOrd="8" destOrd="0" presId="urn:microsoft.com/office/officeart/2005/8/layout/radial4"/>
    <dgm:cxn modelId="{73CD6011-A541-4C20-9285-89CCB5F5D7D1}" type="presParOf" srcId="{59606C61-A572-49AD-9D92-204AC2B170D9}" destId="{8077650D-6D79-469B-9A28-C0F024CEC4A2}" srcOrd="9" destOrd="0" presId="urn:microsoft.com/office/officeart/2005/8/layout/radial4"/>
    <dgm:cxn modelId="{B825A0AC-04A2-42BB-9395-F72AAC8365AC}" type="presParOf" srcId="{59606C61-A572-49AD-9D92-204AC2B170D9}" destId="{A9E88CDE-0FCF-4E16-84B6-2B9BFA2392EC}" srcOrd="10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08F78FD-6EE2-428E-BA86-993437B96B0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3190600-26BB-4748-9E86-4C0167A5DF5B}">
      <dgm:prSet phldrT="[Текст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gradFill rotWithShape="0">
          <a:gsLst>
            <a:gs pos="0">
              <a:schemeClr val="accent5">
                <a:lumMod val="40000"/>
                <a:lumOff val="6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</a:gradFill>
      </dgm:spPr>
      <dgm:t>
        <a:bodyPr/>
        <a:lstStyle/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b="0" dirty="0" smtClean="0">
              <a:solidFill>
                <a:schemeClr val="tx1"/>
              </a:solidFill>
              <a:latin typeface="Arial Narrow" panose="020B0606020202030204" pitchFamily="34" charset="0"/>
            </a:rPr>
            <a:t>При внесении изменений и (или) дополнений в контракт, а также при изменении иных сведений, содержащихся в разделе 1 ВБК по принятому на учет Контракту </a:t>
          </a:r>
        </a:p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b="0" dirty="0" smtClean="0">
              <a:solidFill>
                <a:schemeClr val="tx1"/>
              </a:solidFill>
              <a:latin typeface="Arial Narrow" panose="020B0606020202030204" pitchFamily="34" charset="0"/>
            </a:rPr>
            <a:t>– </a:t>
          </a:r>
          <a:r>
            <a:rPr lang="ru-RU" sz="1400" b="1" dirty="0" smtClean="0">
              <a:solidFill>
                <a:srgbClr val="FF0000"/>
              </a:solidFill>
              <a:latin typeface="Arial Narrow" panose="020B0606020202030204" pitchFamily="34" charset="0"/>
            </a:rPr>
            <a:t>не позднее 15 рабочих дней </a:t>
          </a:r>
          <a:r>
            <a:rPr lang="ru-RU" sz="1400" b="1" dirty="0" smtClean="0">
              <a:solidFill>
                <a:schemeClr val="tx1"/>
              </a:solidFill>
              <a:latin typeface="Arial Narrow" panose="020B0606020202030204" pitchFamily="34" charset="0"/>
            </a:rPr>
            <a:t>после даты  оформления документов - оснований</a:t>
          </a:r>
          <a:endParaRPr lang="ru-RU" sz="1400" b="0" dirty="0" smtClean="0">
            <a:solidFill>
              <a:schemeClr val="tx1"/>
            </a:solidFill>
            <a:latin typeface="Arial Narrow" panose="020B0606020202030204" pitchFamily="34" charset="0"/>
          </a:endParaRPr>
        </a:p>
        <a:p>
          <a:pPr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0" dirty="0">
            <a:latin typeface="Arial" pitchFamily="34" charset="0"/>
            <a:cs typeface="Arial" pitchFamily="34" charset="0"/>
          </a:endParaRPr>
        </a:p>
      </dgm:t>
    </dgm:pt>
    <dgm:pt modelId="{FFFCAC58-2F9B-45D7-A5E6-1DA1E58D4C4A}" type="parTrans" cxnId="{66A99633-500F-4AC0-B44A-BAF7264E34B6}">
      <dgm:prSet/>
      <dgm:spPr/>
      <dgm:t>
        <a:bodyPr/>
        <a:lstStyle/>
        <a:p>
          <a:endParaRPr lang="ru-RU"/>
        </a:p>
      </dgm:t>
    </dgm:pt>
    <dgm:pt modelId="{95D0FF3B-47DF-428A-B4F2-6FCC00789254}" type="sibTrans" cxnId="{66A99633-500F-4AC0-B44A-BAF7264E34B6}">
      <dgm:prSet/>
      <dgm:spPr/>
      <dgm:t>
        <a:bodyPr/>
        <a:lstStyle/>
        <a:p>
          <a:endParaRPr lang="ru-RU"/>
        </a:p>
      </dgm:t>
    </dgm:pt>
    <dgm:pt modelId="{1A3BCBC9-8B73-4637-A45E-6E8BD06723FF}">
      <dgm:prSet phldrT="[Текст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gradFill rotWithShape="0">
          <a:gsLst>
            <a:gs pos="0">
              <a:schemeClr val="accent5">
                <a:lumMod val="40000"/>
                <a:lumOff val="6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</a:gradFill>
      </dgm:spPr>
      <dgm:t>
        <a:bodyPr/>
        <a:lstStyle/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b="0" dirty="0" smtClean="0">
              <a:solidFill>
                <a:schemeClr val="tx1"/>
              </a:solidFill>
              <a:latin typeface="Arial Narrow" panose="020B0606020202030204" pitchFamily="34" charset="0"/>
            </a:rPr>
            <a:t>В случае если в Контракте содержатся условия о возможности его продления (пролонгации) без подписания дополнений и изменений или в случае, когда Контракт действует до исполнения обязательств </a:t>
          </a:r>
        </a:p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b="0" dirty="0" smtClean="0">
              <a:solidFill>
                <a:schemeClr val="tx1"/>
              </a:solidFill>
              <a:latin typeface="Arial Narrow" panose="020B0606020202030204" pitchFamily="34" charset="0"/>
            </a:rPr>
            <a:t> – </a:t>
          </a:r>
          <a:r>
            <a:rPr lang="ru-RU" sz="1400" b="1" dirty="0" smtClean="0">
              <a:solidFill>
                <a:srgbClr val="FF0000"/>
              </a:solidFill>
              <a:latin typeface="Arial Narrow" panose="020B0606020202030204" pitchFamily="34" charset="0"/>
            </a:rPr>
            <a:t>не позднее 15 рабочих дней</a:t>
          </a:r>
          <a:r>
            <a:rPr lang="ru-RU" sz="1400" b="0" dirty="0" smtClean="0">
              <a:solidFill>
                <a:schemeClr val="tx1"/>
              </a:solidFill>
              <a:latin typeface="Arial Narrow" panose="020B0606020202030204" pitchFamily="34" charset="0"/>
            </a:rPr>
            <a:t> </a:t>
          </a:r>
          <a:r>
            <a:rPr lang="ru-RU" sz="1400" b="1" dirty="0" smtClean="0">
              <a:solidFill>
                <a:schemeClr val="tx1"/>
              </a:solidFill>
              <a:latin typeface="Arial Narrow" panose="020B0606020202030204" pitchFamily="34" charset="0"/>
            </a:rPr>
            <a:t>после даты, указанной в графе 6 пункта 3 раздела 1 ВБК</a:t>
          </a:r>
        </a:p>
      </dgm:t>
    </dgm:pt>
    <dgm:pt modelId="{113B5A32-1BFE-41D4-8370-885ACC8DA8D4}" type="parTrans" cxnId="{F0AFE647-FC08-407B-9E7B-CF0E22A041CB}">
      <dgm:prSet/>
      <dgm:spPr/>
      <dgm:t>
        <a:bodyPr/>
        <a:lstStyle/>
        <a:p>
          <a:endParaRPr lang="ru-RU"/>
        </a:p>
      </dgm:t>
    </dgm:pt>
    <dgm:pt modelId="{08678AAD-0380-47B9-97D9-B31BAE142D6B}" type="sibTrans" cxnId="{F0AFE647-FC08-407B-9E7B-CF0E22A041CB}">
      <dgm:prSet/>
      <dgm:spPr/>
      <dgm:t>
        <a:bodyPr/>
        <a:lstStyle/>
        <a:p>
          <a:endParaRPr lang="ru-RU"/>
        </a:p>
      </dgm:t>
    </dgm:pt>
    <dgm:pt modelId="{2AE7C6AE-B7C6-45C0-ABF1-2037EA9A0DFD}">
      <dgm:prSet phldrT="[Текст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gradFill rotWithShape="0">
          <a:gsLst>
            <a:gs pos="0">
              <a:schemeClr val="accent5">
                <a:lumMod val="40000"/>
                <a:lumOff val="6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</a:gradFill>
      </dgm:spPr>
      <dgm:t>
        <a:bodyPr/>
        <a:lstStyle/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b="0" dirty="0" smtClean="0">
              <a:latin typeface="Arial Narrow" panose="020B0606020202030204" pitchFamily="34" charset="0"/>
              <a:cs typeface="Arial" pitchFamily="34" charset="0"/>
            </a:rPr>
            <a:t>При изменении сведений о резиденте, - </a:t>
          </a:r>
          <a:r>
            <a:rPr lang="ru-RU" sz="1400" b="1" dirty="0" smtClean="0">
              <a:solidFill>
                <a:srgbClr val="FF0000"/>
              </a:solidFill>
              <a:latin typeface="Arial Narrow" panose="020B0606020202030204" pitchFamily="34" charset="0"/>
              <a:cs typeface="Arial" pitchFamily="34" charset="0"/>
            </a:rPr>
            <a:t>не позднее 30 рабочих дней </a:t>
          </a:r>
          <a:r>
            <a:rPr lang="ru-RU" sz="1400" b="1" dirty="0" smtClean="0">
              <a:latin typeface="Arial Narrow" panose="020B0606020202030204" pitchFamily="34" charset="0"/>
              <a:cs typeface="Arial" pitchFamily="34" charset="0"/>
            </a:rPr>
            <a:t>после даты внесения соответствующих изменений </a:t>
          </a:r>
          <a:r>
            <a:rPr lang="ru-RU" sz="1400" b="0" dirty="0" smtClean="0">
              <a:latin typeface="Arial Narrow" panose="020B0606020202030204" pitchFamily="34" charset="0"/>
              <a:cs typeface="Arial" pitchFamily="34" charset="0"/>
            </a:rPr>
            <a:t>в Единый государственный реестр юридических лиц, либо в Единый государственный реестр индивидуальных предпринимателей, либо в реестр государственных нотариальных контор и контор нотариусов, занимающихся частной практикой, либо в реестр адвокатов субъекта Российской Федерации.</a:t>
          </a:r>
          <a:endParaRPr lang="ru-RU" sz="1400" b="0" dirty="0">
            <a:latin typeface="Arial Narrow" panose="020B0606020202030204" pitchFamily="34" charset="0"/>
            <a:cs typeface="Arial" pitchFamily="34" charset="0"/>
          </a:endParaRPr>
        </a:p>
      </dgm:t>
    </dgm:pt>
    <dgm:pt modelId="{C449E606-24DC-4F35-A6BE-4055D0CACBD6}" type="parTrans" cxnId="{2529C35E-DE6E-4472-A058-A8FEA33076E8}">
      <dgm:prSet/>
      <dgm:spPr/>
      <dgm:t>
        <a:bodyPr/>
        <a:lstStyle/>
        <a:p>
          <a:endParaRPr lang="ru-RU"/>
        </a:p>
      </dgm:t>
    </dgm:pt>
    <dgm:pt modelId="{E2792AD9-7F08-43EF-B9F4-B109AC88DAC9}" type="sibTrans" cxnId="{2529C35E-DE6E-4472-A058-A8FEA33076E8}">
      <dgm:prSet/>
      <dgm:spPr/>
      <dgm:t>
        <a:bodyPr/>
        <a:lstStyle/>
        <a:p>
          <a:endParaRPr lang="ru-RU"/>
        </a:p>
      </dgm:t>
    </dgm:pt>
    <dgm:pt modelId="{8525C022-D3E2-4F95-9186-9912F21F80AE}" type="pres">
      <dgm:prSet presAssocID="{008F78FD-6EE2-428E-BA86-993437B96B0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3E1833E3-16DE-4CF5-B157-54A679D4678C}" type="pres">
      <dgm:prSet presAssocID="{008F78FD-6EE2-428E-BA86-993437B96B0C}" presName="Name1" presStyleCnt="0"/>
      <dgm:spPr/>
    </dgm:pt>
    <dgm:pt modelId="{00193EF4-41FD-4EFD-99AE-BE87535FDEFA}" type="pres">
      <dgm:prSet presAssocID="{008F78FD-6EE2-428E-BA86-993437B96B0C}" presName="cycle" presStyleCnt="0"/>
      <dgm:spPr/>
    </dgm:pt>
    <dgm:pt modelId="{4AE72663-08F4-4170-8DDF-F3BF0F646080}" type="pres">
      <dgm:prSet presAssocID="{008F78FD-6EE2-428E-BA86-993437B96B0C}" presName="srcNode" presStyleLbl="node1" presStyleIdx="0" presStyleCnt="3"/>
      <dgm:spPr/>
    </dgm:pt>
    <dgm:pt modelId="{09E422E2-2B27-4CCF-9390-00FDB974E965}" type="pres">
      <dgm:prSet presAssocID="{008F78FD-6EE2-428E-BA86-993437B96B0C}" presName="conn" presStyleLbl="parChTrans1D2" presStyleIdx="0" presStyleCnt="1"/>
      <dgm:spPr/>
      <dgm:t>
        <a:bodyPr/>
        <a:lstStyle/>
        <a:p>
          <a:endParaRPr lang="ru-RU"/>
        </a:p>
      </dgm:t>
    </dgm:pt>
    <dgm:pt modelId="{3BDB771D-5CA0-449E-90D3-2BE9ADBD4C34}" type="pres">
      <dgm:prSet presAssocID="{008F78FD-6EE2-428E-BA86-993437B96B0C}" presName="extraNode" presStyleLbl="node1" presStyleIdx="0" presStyleCnt="3"/>
      <dgm:spPr/>
    </dgm:pt>
    <dgm:pt modelId="{4A65E64F-2FE3-4223-8BD2-192A6FDE04B8}" type="pres">
      <dgm:prSet presAssocID="{008F78FD-6EE2-428E-BA86-993437B96B0C}" presName="dstNode" presStyleLbl="node1" presStyleIdx="0" presStyleCnt="3"/>
      <dgm:spPr/>
    </dgm:pt>
    <dgm:pt modelId="{592D2673-6F54-4548-B831-CB6B846300CC}" type="pres">
      <dgm:prSet presAssocID="{03190600-26BB-4748-9E86-4C0167A5DF5B}" presName="text_1" presStyleLbl="node1" presStyleIdx="0" presStyleCnt="3" custScaleX="93249" custScaleY="87356" custLinFactNeighborX="1075" custLinFactNeighborY="4244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7B228B5-98C5-41AA-98C5-96B04D3906B5}" type="pres">
      <dgm:prSet presAssocID="{03190600-26BB-4748-9E86-4C0167A5DF5B}" presName="accent_1" presStyleCnt="0"/>
      <dgm:spPr/>
    </dgm:pt>
    <dgm:pt modelId="{CE2A7532-DDCB-4313-B082-C0008EC1FE0F}" type="pres">
      <dgm:prSet presAssocID="{03190600-26BB-4748-9E86-4C0167A5DF5B}" presName="accentRepeatNode" presStyleLbl="solidFgAcc1" presStyleIdx="0" presStyleCnt="3" custScaleX="97816" custScaleY="91019" custLinFactNeighborX="3590" custLinFactNeighborY="17705"/>
      <dgm:spPr>
        <a:solidFill>
          <a:srgbClr val="FFFF00"/>
        </a:solidFill>
      </dgm:spPr>
      <dgm:t>
        <a:bodyPr/>
        <a:lstStyle/>
        <a:p>
          <a:endParaRPr lang="ru-RU"/>
        </a:p>
      </dgm:t>
    </dgm:pt>
    <dgm:pt modelId="{42531192-04B7-4460-97DB-E52189E205E5}" type="pres">
      <dgm:prSet presAssocID="{1A3BCBC9-8B73-4637-A45E-6E8BD06723FF}" presName="text_2" presStyleLbl="node1" presStyleIdx="1" presStyleCnt="3" custScaleX="97151" custScaleY="114818" custLinFactNeighborX="-319" custLinFactNeighborY="2015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F4D49F0-99C9-40D7-A022-A1479B3AFBCB}" type="pres">
      <dgm:prSet presAssocID="{1A3BCBC9-8B73-4637-A45E-6E8BD06723FF}" presName="accent_2" presStyleCnt="0"/>
      <dgm:spPr/>
    </dgm:pt>
    <dgm:pt modelId="{C1A574CE-A470-460D-96CF-CAD9FFD85F97}" type="pres">
      <dgm:prSet presAssocID="{1A3BCBC9-8B73-4637-A45E-6E8BD06723FF}" presName="accentRepeatNode" presStyleLbl="solidFgAcc1" presStyleIdx="1" presStyleCnt="3" custScaleX="103810" custScaleY="89406" custLinFactNeighborX="-2955" custLinFactNeighborY="6510"/>
      <dgm:spPr>
        <a:solidFill>
          <a:srgbClr val="FFFF00"/>
        </a:solidFill>
      </dgm:spPr>
      <dgm:t>
        <a:bodyPr/>
        <a:lstStyle/>
        <a:p>
          <a:endParaRPr lang="ru-RU"/>
        </a:p>
      </dgm:t>
    </dgm:pt>
    <dgm:pt modelId="{8F1C6BC7-2034-4B60-AB12-D34FD45858D7}" type="pres">
      <dgm:prSet presAssocID="{2AE7C6AE-B7C6-45C0-ABF1-2037EA9A0DFD}" presName="text_3" presStyleLbl="node1" presStyleIdx="2" presStyleCnt="3" custScaleX="93556" custScaleY="139525" custLinFactNeighborX="-711" custLinFactNeighborY="2208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C1E78B8-2798-4159-BAC6-FFF539231004}" type="pres">
      <dgm:prSet presAssocID="{2AE7C6AE-B7C6-45C0-ABF1-2037EA9A0DFD}" presName="accent_3" presStyleCnt="0"/>
      <dgm:spPr/>
    </dgm:pt>
    <dgm:pt modelId="{FA5E14B4-F92F-4C8F-94E8-9BCBB821953F}" type="pres">
      <dgm:prSet presAssocID="{2AE7C6AE-B7C6-45C0-ABF1-2037EA9A0DFD}" presName="accentRepeatNode" presStyleLbl="solidFgAcc1" presStyleIdx="2" presStyleCnt="3" custScaleX="113384" custScaleY="109323" custLinFactNeighborX="7585" custLinFactNeighborY="9507"/>
      <dgm:spPr>
        <a:solidFill>
          <a:srgbClr val="FFFF00"/>
        </a:solidFill>
      </dgm:spPr>
      <dgm:t>
        <a:bodyPr/>
        <a:lstStyle/>
        <a:p>
          <a:endParaRPr lang="ru-RU"/>
        </a:p>
      </dgm:t>
    </dgm:pt>
  </dgm:ptLst>
  <dgm:cxnLst>
    <dgm:cxn modelId="{2529C35E-DE6E-4472-A058-A8FEA33076E8}" srcId="{008F78FD-6EE2-428E-BA86-993437B96B0C}" destId="{2AE7C6AE-B7C6-45C0-ABF1-2037EA9A0DFD}" srcOrd="2" destOrd="0" parTransId="{C449E606-24DC-4F35-A6BE-4055D0CACBD6}" sibTransId="{E2792AD9-7F08-43EF-B9F4-B109AC88DAC9}"/>
    <dgm:cxn modelId="{F261BBFB-F678-49F8-AF4B-0828AFE04892}" type="presOf" srcId="{1A3BCBC9-8B73-4637-A45E-6E8BD06723FF}" destId="{42531192-04B7-4460-97DB-E52189E205E5}" srcOrd="0" destOrd="0" presId="urn:microsoft.com/office/officeart/2008/layout/VerticalCurvedList"/>
    <dgm:cxn modelId="{F0AFE647-FC08-407B-9E7B-CF0E22A041CB}" srcId="{008F78FD-6EE2-428E-BA86-993437B96B0C}" destId="{1A3BCBC9-8B73-4637-A45E-6E8BD06723FF}" srcOrd="1" destOrd="0" parTransId="{113B5A32-1BFE-41D4-8370-885ACC8DA8D4}" sibTransId="{08678AAD-0380-47B9-97D9-B31BAE142D6B}"/>
    <dgm:cxn modelId="{4CA294F7-98D1-4BC2-8A19-EBEA5EA9EF50}" type="presOf" srcId="{008F78FD-6EE2-428E-BA86-993437B96B0C}" destId="{8525C022-D3E2-4F95-9186-9912F21F80AE}" srcOrd="0" destOrd="0" presId="urn:microsoft.com/office/officeart/2008/layout/VerticalCurvedList"/>
    <dgm:cxn modelId="{D7F01EA9-8CDA-421A-AF28-932F9163E3F0}" type="presOf" srcId="{03190600-26BB-4748-9E86-4C0167A5DF5B}" destId="{592D2673-6F54-4548-B831-CB6B846300CC}" srcOrd="0" destOrd="0" presId="urn:microsoft.com/office/officeart/2008/layout/VerticalCurvedList"/>
    <dgm:cxn modelId="{FD11CF57-EA5C-40DD-B7E2-449815279B33}" type="presOf" srcId="{95D0FF3B-47DF-428A-B4F2-6FCC00789254}" destId="{09E422E2-2B27-4CCF-9390-00FDB974E965}" srcOrd="0" destOrd="0" presId="urn:microsoft.com/office/officeart/2008/layout/VerticalCurvedList"/>
    <dgm:cxn modelId="{8F78DDC8-39E3-49CD-9B99-6B59354E6C19}" type="presOf" srcId="{2AE7C6AE-B7C6-45C0-ABF1-2037EA9A0DFD}" destId="{8F1C6BC7-2034-4B60-AB12-D34FD45858D7}" srcOrd="0" destOrd="0" presId="urn:microsoft.com/office/officeart/2008/layout/VerticalCurvedList"/>
    <dgm:cxn modelId="{66A99633-500F-4AC0-B44A-BAF7264E34B6}" srcId="{008F78FD-6EE2-428E-BA86-993437B96B0C}" destId="{03190600-26BB-4748-9E86-4C0167A5DF5B}" srcOrd="0" destOrd="0" parTransId="{FFFCAC58-2F9B-45D7-A5E6-1DA1E58D4C4A}" sibTransId="{95D0FF3B-47DF-428A-B4F2-6FCC00789254}"/>
    <dgm:cxn modelId="{FC32EC5C-3CF4-4BD9-A2D4-5DA8699DEFE2}" type="presParOf" srcId="{8525C022-D3E2-4F95-9186-9912F21F80AE}" destId="{3E1833E3-16DE-4CF5-B157-54A679D4678C}" srcOrd="0" destOrd="0" presId="urn:microsoft.com/office/officeart/2008/layout/VerticalCurvedList"/>
    <dgm:cxn modelId="{F105F0B4-BB4F-4B8C-AB0B-A8C24F303B1E}" type="presParOf" srcId="{3E1833E3-16DE-4CF5-B157-54A679D4678C}" destId="{00193EF4-41FD-4EFD-99AE-BE87535FDEFA}" srcOrd="0" destOrd="0" presId="urn:microsoft.com/office/officeart/2008/layout/VerticalCurvedList"/>
    <dgm:cxn modelId="{E0E18E19-92E6-4B95-A5D5-504890BF2C36}" type="presParOf" srcId="{00193EF4-41FD-4EFD-99AE-BE87535FDEFA}" destId="{4AE72663-08F4-4170-8DDF-F3BF0F646080}" srcOrd="0" destOrd="0" presId="urn:microsoft.com/office/officeart/2008/layout/VerticalCurvedList"/>
    <dgm:cxn modelId="{9BF2ABB2-6AD7-44C5-8D69-97F51658B7BD}" type="presParOf" srcId="{00193EF4-41FD-4EFD-99AE-BE87535FDEFA}" destId="{09E422E2-2B27-4CCF-9390-00FDB974E965}" srcOrd="1" destOrd="0" presId="urn:microsoft.com/office/officeart/2008/layout/VerticalCurvedList"/>
    <dgm:cxn modelId="{0E801213-CF6B-47EF-881F-BF192F6D9E5B}" type="presParOf" srcId="{00193EF4-41FD-4EFD-99AE-BE87535FDEFA}" destId="{3BDB771D-5CA0-449E-90D3-2BE9ADBD4C34}" srcOrd="2" destOrd="0" presId="urn:microsoft.com/office/officeart/2008/layout/VerticalCurvedList"/>
    <dgm:cxn modelId="{2EDA7B86-9EDC-455A-93ED-E66B4A488C83}" type="presParOf" srcId="{00193EF4-41FD-4EFD-99AE-BE87535FDEFA}" destId="{4A65E64F-2FE3-4223-8BD2-192A6FDE04B8}" srcOrd="3" destOrd="0" presId="urn:microsoft.com/office/officeart/2008/layout/VerticalCurvedList"/>
    <dgm:cxn modelId="{FDCBD75D-8951-45E0-B06E-DEDCF3A4FCD3}" type="presParOf" srcId="{3E1833E3-16DE-4CF5-B157-54A679D4678C}" destId="{592D2673-6F54-4548-B831-CB6B846300CC}" srcOrd="1" destOrd="0" presId="urn:microsoft.com/office/officeart/2008/layout/VerticalCurvedList"/>
    <dgm:cxn modelId="{88F8A984-2D7B-4A2E-B2FA-ACEBDE5C0BAE}" type="presParOf" srcId="{3E1833E3-16DE-4CF5-B157-54A679D4678C}" destId="{97B228B5-98C5-41AA-98C5-96B04D3906B5}" srcOrd="2" destOrd="0" presId="urn:microsoft.com/office/officeart/2008/layout/VerticalCurvedList"/>
    <dgm:cxn modelId="{08043B46-228A-4CE2-9A83-8B57D07F5DBE}" type="presParOf" srcId="{97B228B5-98C5-41AA-98C5-96B04D3906B5}" destId="{CE2A7532-DDCB-4313-B082-C0008EC1FE0F}" srcOrd="0" destOrd="0" presId="urn:microsoft.com/office/officeart/2008/layout/VerticalCurvedList"/>
    <dgm:cxn modelId="{2B51B300-1810-4928-9594-86834D97D918}" type="presParOf" srcId="{3E1833E3-16DE-4CF5-B157-54A679D4678C}" destId="{42531192-04B7-4460-97DB-E52189E205E5}" srcOrd="3" destOrd="0" presId="urn:microsoft.com/office/officeart/2008/layout/VerticalCurvedList"/>
    <dgm:cxn modelId="{20A95B6C-2B8E-434B-AC11-981740AEC4AC}" type="presParOf" srcId="{3E1833E3-16DE-4CF5-B157-54A679D4678C}" destId="{1F4D49F0-99C9-40D7-A022-A1479B3AFBCB}" srcOrd="4" destOrd="0" presId="urn:microsoft.com/office/officeart/2008/layout/VerticalCurvedList"/>
    <dgm:cxn modelId="{F4F841EC-8464-40BF-A6AC-F4F492651F40}" type="presParOf" srcId="{1F4D49F0-99C9-40D7-A022-A1479B3AFBCB}" destId="{C1A574CE-A470-460D-96CF-CAD9FFD85F97}" srcOrd="0" destOrd="0" presId="urn:microsoft.com/office/officeart/2008/layout/VerticalCurvedList"/>
    <dgm:cxn modelId="{F13092E3-51F1-43BF-8556-7F759358DCE4}" type="presParOf" srcId="{3E1833E3-16DE-4CF5-B157-54A679D4678C}" destId="{8F1C6BC7-2034-4B60-AB12-D34FD45858D7}" srcOrd="5" destOrd="0" presId="urn:microsoft.com/office/officeart/2008/layout/VerticalCurvedList"/>
    <dgm:cxn modelId="{536A7D50-7EBB-4ED7-B90F-345E9524B1F7}" type="presParOf" srcId="{3E1833E3-16DE-4CF5-B157-54A679D4678C}" destId="{2C1E78B8-2798-4159-BAC6-FFF539231004}" srcOrd="6" destOrd="0" presId="urn:microsoft.com/office/officeart/2008/layout/VerticalCurvedList"/>
    <dgm:cxn modelId="{403724C1-4D6C-4B32-8AEC-563BE79C4B04}" type="presParOf" srcId="{2C1E78B8-2798-4159-BAC6-FFF539231004}" destId="{FA5E14B4-F92F-4C8F-94E8-9BCBB821953F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982E618-AB1D-4610-9E75-91C494DC36A6}" type="doc">
      <dgm:prSet loTypeId="urn:microsoft.com/office/officeart/2008/layout/RadialCluster" loCatId="relationship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90BB4F9-5BC1-4F4E-9581-072EA8331EDF}">
      <dgm:prSet phldrT="[Текст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b="1" dirty="0" smtClean="0">
              <a:solidFill>
                <a:schemeClr val="tx1"/>
              </a:solidFill>
            </a:rPr>
            <a:t>Резидент представляет в банк </a:t>
          </a:r>
        </a:p>
        <a:p>
          <a:r>
            <a:rPr lang="ru-RU" b="1" dirty="0" smtClean="0">
              <a:solidFill>
                <a:schemeClr val="tx1"/>
              </a:solidFill>
            </a:rPr>
            <a:t> </a:t>
          </a:r>
          <a:r>
            <a:rPr lang="ru-RU" b="1" dirty="0" smtClean="0">
              <a:solidFill>
                <a:srgbClr val="FF0000"/>
              </a:solidFill>
            </a:rPr>
            <a:t>Заявление о снятии с учета контракта</a:t>
          </a:r>
          <a:endParaRPr lang="ru-RU" b="1" dirty="0">
            <a:solidFill>
              <a:srgbClr val="FF0000"/>
            </a:solidFill>
          </a:endParaRPr>
        </a:p>
      </dgm:t>
    </dgm:pt>
    <dgm:pt modelId="{B48080F0-5748-4362-8AC8-39797A235A49}" type="parTrans" cxnId="{595611AB-7421-452C-9830-9C71AE19D7BF}">
      <dgm:prSet/>
      <dgm:spPr/>
      <dgm:t>
        <a:bodyPr/>
        <a:lstStyle/>
        <a:p>
          <a:endParaRPr lang="ru-RU"/>
        </a:p>
      </dgm:t>
    </dgm:pt>
    <dgm:pt modelId="{F0124EAA-0CE0-4706-9D83-C054223F36EE}" type="sibTrans" cxnId="{595611AB-7421-452C-9830-9C71AE19D7BF}">
      <dgm:prSet/>
      <dgm:spPr/>
      <dgm:t>
        <a:bodyPr/>
        <a:lstStyle/>
        <a:p>
          <a:endParaRPr lang="ru-RU"/>
        </a:p>
      </dgm:t>
    </dgm:pt>
    <dgm:pt modelId="{CE52BEFD-80E6-4F64-87F4-4285F6348B72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300" b="1" dirty="0" smtClean="0">
              <a:solidFill>
                <a:schemeClr val="tx1"/>
              </a:solidFill>
            </a:rPr>
            <a:t>6.1.1. </a:t>
          </a:r>
          <a:r>
            <a:rPr lang="ru-RU" sz="1300" b="1" u="sng" dirty="0" smtClean="0">
              <a:solidFill>
                <a:schemeClr val="tx1"/>
              </a:solidFill>
            </a:rPr>
            <a:t>при переводе на обслуживание в другой уполномоченный банк</a:t>
          </a:r>
          <a:r>
            <a:rPr lang="ru-RU" sz="1300" b="1" dirty="0" smtClean="0">
              <a:solidFill>
                <a:schemeClr val="tx1"/>
              </a:solidFill>
            </a:rPr>
            <a:t>, а также </a:t>
          </a:r>
          <a:r>
            <a:rPr lang="ru-RU" sz="1300" b="1" u="sng" dirty="0" smtClean="0">
              <a:solidFill>
                <a:schemeClr val="tx1"/>
              </a:solidFill>
            </a:rPr>
            <a:t>при закрытии резидентом всех расчетных счетов в банке</a:t>
          </a:r>
          <a:r>
            <a:rPr lang="ru-RU" sz="1300" b="1" dirty="0" smtClean="0">
              <a:solidFill>
                <a:schemeClr val="tx1"/>
              </a:solidFill>
            </a:rPr>
            <a:t> УК </a:t>
          </a:r>
          <a:endParaRPr lang="ru-RU" sz="1300" b="1" dirty="0">
            <a:solidFill>
              <a:schemeClr val="tx1"/>
            </a:solidFill>
          </a:endParaRPr>
        </a:p>
      </dgm:t>
    </dgm:pt>
    <dgm:pt modelId="{3AB6C328-54D5-4125-8E44-AC28E3EA5470}" type="parTrans" cxnId="{0BB6CB34-F96F-48B7-BFFD-031FBBB64AA4}">
      <dgm:prSet/>
      <dgm:spPr/>
      <dgm:t>
        <a:bodyPr/>
        <a:lstStyle/>
        <a:p>
          <a:endParaRPr lang="ru-RU"/>
        </a:p>
      </dgm:t>
    </dgm:pt>
    <dgm:pt modelId="{163180EC-9EE2-4DB3-82A6-CAA860624126}" type="sibTrans" cxnId="{0BB6CB34-F96F-48B7-BFFD-031FBBB64AA4}">
      <dgm:prSet/>
      <dgm:spPr/>
      <dgm:t>
        <a:bodyPr/>
        <a:lstStyle/>
        <a:p>
          <a:endParaRPr lang="ru-RU"/>
        </a:p>
      </dgm:t>
    </dgm:pt>
    <dgm:pt modelId="{7687A1B6-7FF9-49C2-9086-A73879C45A56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300" b="1" dirty="0" smtClean="0">
              <a:solidFill>
                <a:schemeClr val="tx1"/>
              </a:solidFill>
            </a:rPr>
            <a:t>6.1.2. </a:t>
          </a:r>
          <a:r>
            <a:rPr lang="ru-RU" sz="1300" b="1" u="sng" dirty="0" smtClean="0">
              <a:solidFill>
                <a:schemeClr val="tx1"/>
              </a:solidFill>
            </a:rPr>
            <a:t>при исполнении сторонами всех обязательств по контракту</a:t>
          </a:r>
          <a:r>
            <a:rPr lang="ru-RU" sz="1300" b="1" dirty="0" smtClean="0">
              <a:solidFill>
                <a:schemeClr val="tx1"/>
              </a:solidFill>
            </a:rPr>
            <a:t>, вкл. исполнение обязательств третьим лицом</a:t>
          </a:r>
          <a:endParaRPr lang="ru-RU" sz="1300" b="1" dirty="0">
            <a:solidFill>
              <a:schemeClr val="tx1"/>
            </a:solidFill>
          </a:endParaRPr>
        </a:p>
      </dgm:t>
    </dgm:pt>
    <dgm:pt modelId="{19DA604D-897D-469F-B28D-F3EB2B63980B}" type="parTrans" cxnId="{1F0FE89D-5238-4115-B36F-4DED77B7C413}">
      <dgm:prSet/>
      <dgm:spPr/>
      <dgm:t>
        <a:bodyPr/>
        <a:lstStyle/>
        <a:p>
          <a:endParaRPr lang="ru-RU"/>
        </a:p>
      </dgm:t>
    </dgm:pt>
    <dgm:pt modelId="{5BB1BE1C-3C3E-4576-849E-EE7E8B11C8CD}" type="sibTrans" cxnId="{1F0FE89D-5238-4115-B36F-4DED77B7C413}">
      <dgm:prSet/>
      <dgm:spPr/>
      <dgm:t>
        <a:bodyPr/>
        <a:lstStyle/>
        <a:p>
          <a:endParaRPr lang="ru-RU"/>
        </a:p>
      </dgm:t>
    </dgm:pt>
    <dgm:pt modelId="{BCC82B93-E821-442D-B8CE-E4D0410D4B28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300" b="1" dirty="0" smtClean="0">
              <a:solidFill>
                <a:schemeClr val="tx1"/>
              </a:solidFill>
            </a:rPr>
            <a:t>6.1.6. </a:t>
          </a:r>
          <a:r>
            <a:rPr lang="ru-RU" sz="1300" b="1" u="sng" dirty="0" smtClean="0">
              <a:solidFill>
                <a:schemeClr val="tx1"/>
              </a:solidFill>
            </a:rPr>
            <a:t>при прекращении оснований, требующих постановки Контракта на учет, </a:t>
          </a:r>
          <a:r>
            <a:rPr lang="ru-RU" sz="1300" b="1" dirty="0" smtClean="0">
              <a:solidFill>
                <a:schemeClr val="tx1"/>
              </a:solidFill>
            </a:rPr>
            <a:t>в </a:t>
          </a:r>
          <a:r>
            <a:rPr lang="ru-RU" sz="1300" b="1" dirty="0" err="1" smtClean="0">
              <a:solidFill>
                <a:schemeClr val="tx1"/>
              </a:solidFill>
            </a:rPr>
            <a:t>т.ч</a:t>
          </a:r>
          <a:r>
            <a:rPr lang="ru-RU" sz="1300" b="1" dirty="0" smtClean="0">
              <a:solidFill>
                <a:schemeClr val="tx1"/>
              </a:solidFill>
            </a:rPr>
            <a:t>. при внесении изменений, а также в случае ошибочного принятия на учет при отсутствии оснований, требующих его принятия на учет</a:t>
          </a:r>
          <a:endParaRPr lang="ru-RU" sz="1200" b="1" dirty="0">
            <a:solidFill>
              <a:schemeClr val="tx1"/>
            </a:solidFill>
          </a:endParaRPr>
        </a:p>
      </dgm:t>
    </dgm:pt>
    <dgm:pt modelId="{16723ACD-9293-45C6-9C5C-567D9D84BB74}" type="parTrans" cxnId="{74F950DF-4EEE-41F9-878A-E106C4C3791C}">
      <dgm:prSet/>
      <dgm:spPr/>
      <dgm:t>
        <a:bodyPr/>
        <a:lstStyle/>
        <a:p>
          <a:endParaRPr lang="ru-RU"/>
        </a:p>
      </dgm:t>
    </dgm:pt>
    <dgm:pt modelId="{5D819D6C-8EE4-406C-B69B-3A8BDE8AFEBE}" type="sibTrans" cxnId="{74F950DF-4EEE-41F9-878A-E106C4C3791C}">
      <dgm:prSet/>
      <dgm:spPr/>
      <dgm:t>
        <a:bodyPr/>
        <a:lstStyle/>
        <a:p>
          <a:endParaRPr lang="ru-RU"/>
        </a:p>
      </dgm:t>
    </dgm:pt>
    <dgm:pt modelId="{130C08B8-F110-4D1B-8EC9-6075C425CBF7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300" b="1" dirty="0" smtClean="0">
              <a:solidFill>
                <a:schemeClr val="tx1"/>
              </a:solidFill>
            </a:rPr>
            <a:t>6.1.3. </a:t>
          </a:r>
          <a:r>
            <a:rPr lang="ru-RU" sz="1300" b="1" u="sng" dirty="0" smtClean="0">
              <a:solidFill>
                <a:schemeClr val="tx1"/>
              </a:solidFill>
            </a:rPr>
            <a:t>при уступке резидентом требования </a:t>
          </a:r>
          <a:r>
            <a:rPr lang="ru-RU" sz="1300" b="1" dirty="0" smtClean="0">
              <a:solidFill>
                <a:schemeClr val="tx1"/>
              </a:solidFill>
            </a:rPr>
            <a:t>другому лицу - резиденту либо </a:t>
          </a:r>
          <a:r>
            <a:rPr lang="ru-RU" sz="1300" b="1" u="sng" dirty="0" smtClean="0">
              <a:solidFill>
                <a:schemeClr val="tx1"/>
              </a:solidFill>
            </a:rPr>
            <a:t>при переводе долга </a:t>
          </a:r>
          <a:r>
            <a:rPr lang="ru-RU" sz="1300" b="1" dirty="0" smtClean="0">
              <a:solidFill>
                <a:schemeClr val="tx1"/>
              </a:solidFill>
            </a:rPr>
            <a:t>резидентом на другое лицо - резидента</a:t>
          </a:r>
          <a:endParaRPr lang="ru-RU" sz="1300" b="1" dirty="0">
            <a:solidFill>
              <a:schemeClr val="tx1"/>
            </a:solidFill>
          </a:endParaRPr>
        </a:p>
      </dgm:t>
    </dgm:pt>
    <dgm:pt modelId="{42B8D8B3-B974-4597-A273-875D61E5F04F}" type="parTrans" cxnId="{97EBF654-199D-438C-8700-E0E8CB80F800}">
      <dgm:prSet/>
      <dgm:spPr/>
      <dgm:t>
        <a:bodyPr/>
        <a:lstStyle/>
        <a:p>
          <a:endParaRPr lang="ru-RU"/>
        </a:p>
      </dgm:t>
    </dgm:pt>
    <dgm:pt modelId="{F47ADD70-0333-4240-99E0-8AB204C6228E}" type="sibTrans" cxnId="{97EBF654-199D-438C-8700-E0E8CB80F800}">
      <dgm:prSet/>
      <dgm:spPr/>
      <dgm:t>
        <a:bodyPr/>
        <a:lstStyle/>
        <a:p>
          <a:endParaRPr lang="ru-RU"/>
        </a:p>
      </dgm:t>
    </dgm:pt>
    <dgm:pt modelId="{C9625652-342B-4F08-8FEB-126FD1E67563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300" b="1" dirty="0" smtClean="0">
              <a:solidFill>
                <a:schemeClr val="tx1"/>
              </a:solidFill>
            </a:rPr>
            <a:t>6.1.4. </a:t>
          </a:r>
          <a:r>
            <a:rPr lang="ru-RU" sz="1300" b="1" u="sng" dirty="0" smtClean="0">
              <a:solidFill>
                <a:schemeClr val="tx1"/>
              </a:solidFill>
            </a:rPr>
            <a:t>при уступке резидентом требования </a:t>
          </a:r>
          <a:r>
            <a:rPr lang="ru-RU" sz="1300" b="1" dirty="0" smtClean="0">
              <a:solidFill>
                <a:schemeClr val="tx1"/>
              </a:solidFill>
            </a:rPr>
            <a:t>нерезиденту либо при </a:t>
          </a:r>
          <a:r>
            <a:rPr lang="ru-RU" sz="1300" b="1" u="sng" dirty="0" smtClean="0">
              <a:solidFill>
                <a:schemeClr val="tx1"/>
              </a:solidFill>
            </a:rPr>
            <a:t>переводе долга </a:t>
          </a:r>
          <a:r>
            <a:rPr lang="ru-RU" sz="1300" b="1" dirty="0" smtClean="0">
              <a:solidFill>
                <a:schemeClr val="tx1"/>
              </a:solidFill>
            </a:rPr>
            <a:t>резидентом на нерезидента</a:t>
          </a:r>
          <a:endParaRPr lang="ru-RU" sz="1300" b="1" dirty="0">
            <a:solidFill>
              <a:schemeClr val="tx1"/>
            </a:solidFill>
          </a:endParaRPr>
        </a:p>
      </dgm:t>
    </dgm:pt>
    <dgm:pt modelId="{57076885-AD61-4B20-92A4-127BA28C0F24}" type="parTrans" cxnId="{2BCCC555-FA72-48F6-B17B-E02E1FB3A988}">
      <dgm:prSet/>
      <dgm:spPr/>
      <dgm:t>
        <a:bodyPr/>
        <a:lstStyle/>
        <a:p>
          <a:endParaRPr lang="ru-RU"/>
        </a:p>
      </dgm:t>
    </dgm:pt>
    <dgm:pt modelId="{97B1EA41-6C25-4A51-8E93-257666A214D5}" type="sibTrans" cxnId="{2BCCC555-FA72-48F6-B17B-E02E1FB3A988}">
      <dgm:prSet/>
      <dgm:spPr/>
      <dgm:t>
        <a:bodyPr/>
        <a:lstStyle/>
        <a:p>
          <a:endParaRPr lang="ru-RU"/>
        </a:p>
      </dgm:t>
    </dgm:pt>
    <dgm:pt modelId="{71734CAC-5399-4614-B10E-400ED309C7EF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300" b="1" dirty="0" smtClean="0">
              <a:solidFill>
                <a:schemeClr val="tx1"/>
              </a:solidFill>
            </a:rPr>
            <a:t>6.1.5. при исполнении (прекращении) обязательств по иным, не указанным в </a:t>
          </a:r>
          <a:r>
            <a:rPr lang="ru-RU" sz="1300" b="1" dirty="0" err="1" smtClean="0">
              <a:solidFill>
                <a:schemeClr val="tx1"/>
              </a:solidFill>
            </a:rPr>
            <a:t>п.п</a:t>
          </a:r>
          <a:r>
            <a:rPr lang="ru-RU" sz="1300" b="1" dirty="0" smtClean="0">
              <a:solidFill>
                <a:schemeClr val="tx1"/>
              </a:solidFill>
            </a:rPr>
            <a:t>. 6.1.2 основаниям, предусмотренным законодательством Российской Федерации</a:t>
          </a:r>
          <a:endParaRPr lang="ru-RU" sz="1300" b="1" dirty="0">
            <a:solidFill>
              <a:schemeClr val="tx1"/>
            </a:solidFill>
          </a:endParaRPr>
        </a:p>
      </dgm:t>
    </dgm:pt>
    <dgm:pt modelId="{9EA08BE9-BF66-46D0-B30D-D4E35A8EC6C5}" type="parTrans" cxnId="{31376F7F-B1EE-4641-A06A-9D50921C13F1}">
      <dgm:prSet/>
      <dgm:spPr/>
      <dgm:t>
        <a:bodyPr/>
        <a:lstStyle/>
        <a:p>
          <a:endParaRPr lang="ru-RU"/>
        </a:p>
      </dgm:t>
    </dgm:pt>
    <dgm:pt modelId="{D6F4B00F-8CA4-4C2E-987D-83B05FF2FD2E}" type="sibTrans" cxnId="{31376F7F-B1EE-4641-A06A-9D50921C13F1}">
      <dgm:prSet/>
      <dgm:spPr/>
      <dgm:t>
        <a:bodyPr/>
        <a:lstStyle/>
        <a:p>
          <a:endParaRPr lang="ru-RU"/>
        </a:p>
      </dgm:t>
    </dgm:pt>
    <dgm:pt modelId="{1DD57D03-65C0-45F4-A5AF-6EE8976FB354}" type="pres">
      <dgm:prSet presAssocID="{5982E618-AB1D-4610-9E75-91C494DC36A6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71696BE8-4769-400E-BEAB-97F2EEAE3EF5}" type="pres">
      <dgm:prSet presAssocID="{290BB4F9-5BC1-4F4E-9581-072EA8331EDF}" presName="singleCycle" presStyleCnt="0"/>
      <dgm:spPr/>
    </dgm:pt>
    <dgm:pt modelId="{13A7C093-5F75-4B5E-8B98-03F42A976125}" type="pres">
      <dgm:prSet presAssocID="{290BB4F9-5BC1-4F4E-9581-072EA8331EDF}" presName="singleCenter" presStyleLbl="node1" presStyleIdx="0" presStyleCnt="7" custScaleX="133117" custScaleY="106763" custLinFactNeighborX="1230" custLinFactNeighborY="0">
        <dgm:presLayoutVars>
          <dgm:chMax val="7"/>
          <dgm:chPref val="7"/>
        </dgm:presLayoutVars>
      </dgm:prSet>
      <dgm:spPr/>
      <dgm:t>
        <a:bodyPr/>
        <a:lstStyle/>
        <a:p>
          <a:endParaRPr lang="ru-RU"/>
        </a:p>
      </dgm:t>
    </dgm:pt>
    <dgm:pt modelId="{F5BB86A4-E811-4581-BF55-900CFA683DF3}" type="pres">
      <dgm:prSet presAssocID="{3AB6C328-54D5-4125-8E44-AC28E3EA5470}" presName="Name56" presStyleLbl="parChTrans1D2" presStyleIdx="0" presStyleCnt="6"/>
      <dgm:spPr/>
      <dgm:t>
        <a:bodyPr/>
        <a:lstStyle/>
        <a:p>
          <a:endParaRPr lang="ru-RU"/>
        </a:p>
      </dgm:t>
    </dgm:pt>
    <dgm:pt modelId="{C86952D1-93E2-4A12-BA08-8F6FAB313DFD}" type="pres">
      <dgm:prSet presAssocID="{CE52BEFD-80E6-4F64-87F4-4285F6348B72}" presName="text0" presStyleLbl="node1" presStyleIdx="1" presStyleCnt="7" custScaleX="213057" custScaleY="152873" custRadScaleRad="88938" custRadScaleInc="479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DBF9A6F-E7A9-4D37-B89B-07DCC14D71A6}" type="pres">
      <dgm:prSet presAssocID="{19DA604D-897D-469F-B28D-F3EB2B63980B}" presName="Name56" presStyleLbl="parChTrans1D2" presStyleIdx="1" presStyleCnt="6"/>
      <dgm:spPr/>
      <dgm:t>
        <a:bodyPr/>
        <a:lstStyle/>
        <a:p>
          <a:endParaRPr lang="ru-RU"/>
        </a:p>
      </dgm:t>
    </dgm:pt>
    <dgm:pt modelId="{2F2751FC-61E5-42C2-96FE-F680E7DBFDCA}" type="pres">
      <dgm:prSet presAssocID="{7687A1B6-7FF9-49C2-9086-A73879C45A56}" presName="text0" presStyleLbl="node1" presStyleIdx="2" presStyleCnt="7" custScaleX="229910" custScaleY="195523" custRadScaleRad="157494" custRadScaleInc="1686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E53EB61-C4A9-4A46-8238-7CCD06C6BF62}" type="pres">
      <dgm:prSet presAssocID="{42B8D8B3-B974-4597-A273-875D61E5F04F}" presName="Name56" presStyleLbl="parChTrans1D2" presStyleIdx="2" presStyleCnt="6"/>
      <dgm:spPr/>
      <dgm:t>
        <a:bodyPr/>
        <a:lstStyle/>
        <a:p>
          <a:endParaRPr lang="ru-RU"/>
        </a:p>
      </dgm:t>
    </dgm:pt>
    <dgm:pt modelId="{92441BEB-9637-40E3-87FA-CBA3C1335146}" type="pres">
      <dgm:prSet presAssocID="{130C08B8-F110-4D1B-8EC9-6075C425CBF7}" presName="text0" presStyleLbl="node1" presStyleIdx="3" presStyleCnt="7" custScaleX="226600" custScaleY="184733" custRadScaleRad="156805" custRadScaleInc="-2773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F3728E2-FF76-4D84-8AB5-EC37A8F66F60}" type="pres">
      <dgm:prSet presAssocID="{57076885-AD61-4B20-92A4-127BA28C0F24}" presName="Name56" presStyleLbl="parChTrans1D2" presStyleIdx="3" presStyleCnt="6"/>
      <dgm:spPr/>
      <dgm:t>
        <a:bodyPr/>
        <a:lstStyle/>
        <a:p>
          <a:endParaRPr lang="ru-RU"/>
        </a:p>
      </dgm:t>
    </dgm:pt>
    <dgm:pt modelId="{47EAE777-9F75-420B-9306-0B013BB4FBC3}" type="pres">
      <dgm:prSet presAssocID="{C9625652-342B-4F08-8FEB-126FD1E67563}" presName="text0" presStyleLbl="node1" presStyleIdx="4" presStyleCnt="7" custScaleX="213057" custScaleY="139894" custRadScaleRad="84022" custRadScaleInc="-254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07F1BDF-8133-4846-8E84-F91E005DD529}" type="pres">
      <dgm:prSet presAssocID="{9EA08BE9-BF66-46D0-B30D-D4E35A8EC6C5}" presName="Name56" presStyleLbl="parChTrans1D2" presStyleIdx="4" presStyleCnt="6"/>
      <dgm:spPr/>
      <dgm:t>
        <a:bodyPr/>
        <a:lstStyle/>
        <a:p>
          <a:endParaRPr lang="ru-RU"/>
        </a:p>
      </dgm:t>
    </dgm:pt>
    <dgm:pt modelId="{1DAB37DA-31D8-4BBA-A49C-6429613F2C67}" type="pres">
      <dgm:prSet presAssocID="{71734CAC-5399-4614-B10E-400ED309C7EF}" presName="text0" presStyleLbl="node1" presStyleIdx="5" presStyleCnt="7" custScaleX="233496" custScaleY="203674" custRadScaleRad="162565" custRadScaleInc="2911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BC651E6-7CC5-4E95-8D94-0E89535AD029}" type="pres">
      <dgm:prSet presAssocID="{16723ACD-9293-45C6-9C5C-567D9D84BB74}" presName="Name56" presStyleLbl="parChTrans1D2" presStyleIdx="5" presStyleCnt="6"/>
      <dgm:spPr/>
      <dgm:t>
        <a:bodyPr/>
        <a:lstStyle/>
        <a:p>
          <a:endParaRPr lang="ru-RU"/>
        </a:p>
      </dgm:t>
    </dgm:pt>
    <dgm:pt modelId="{83A776A5-F653-4CEF-A983-F4F095F03D9D}" type="pres">
      <dgm:prSet presAssocID="{BCC82B93-E821-442D-B8CE-E4D0410D4B28}" presName="text0" presStyleLbl="node1" presStyleIdx="6" presStyleCnt="7" custScaleX="233217" custScaleY="203287" custRadScaleRad="160836" custRadScaleInc="-1637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4F950DF-4EEE-41F9-878A-E106C4C3791C}" srcId="{290BB4F9-5BC1-4F4E-9581-072EA8331EDF}" destId="{BCC82B93-E821-442D-B8CE-E4D0410D4B28}" srcOrd="5" destOrd="0" parTransId="{16723ACD-9293-45C6-9C5C-567D9D84BB74}" sibTransId="{5D819D6C-8EE4-406C-B69B-3A8BDE8AFEBE}"/>
    <dgm:cxn modelId="{30598A5D-CB17-4A3D-BD56-7FA85CDBA9C6}" type="presOf" srcId="{BCC82B93-E821-442D-B8CE-E4D0410D4B28}" destId="{83A776A5-F653-4CEF-A983-F4F095F03D9D}" srcOrd="0" destOrd="0" presId="urn:microsoft.com/office/officeart/2008/layout/RadialCluster"/>
    <dgm:cxn modelId="{BA151827-A03B-47A2-A11D-C2E2ECB1F9AE}" type="presOf" srcId="{3AB6C328-54D5-4125-8E44-AC28E3EA5470}" destId="{F5BB86A4-E811-4581-BF55-900CFA683DF3}" srcOrd="0" destOrd="0" presId="urn:microsoft.com/office/officeart/2008/layout/RadialCluster"/>
    <dgm:cxn modelId="{9FA93CD0-636B-4AFC-8138-71D84FDD2DB6}" type="presOf" srcId="{C9625652-342B-4F08-8FEB-126FD1E67563}" destId="{47EAE777-9F75-420B-9306-0B013BB4FBC3}" srcOrd="0" destOrd="0" presId="urn:microsoft.com/office/officeart/2008/layout/RadialCluster"/>
    <dgm:cxn modelId="{6FCA7B22-C04D-4A00-8C0B-557076EEDC07}" type="presOf" srcId="{5982E618-AB1D-4610-9E75-91C494DC36A6}" destId="{1DD57D03-65C0-45F4-A5AF-6EE8976FB354}" srcOrd="0" destOrd="0" presId="urn:microsoft.com/office/officeart/2008/layout/RadialCluster"/>
    <dgm:cxn modelId="{9038577B-9136-4285-97D5-6C8D58465F33}" type="presOf" srcId="{130C08B8-F110-4D1B-8EC9-6075C425CBF7}" destId="{92441BEB-9637-40E3-87FA-CBA3C1335146}" srcOrd="0" destOrd="0" presId="urn:microsoft.com/office/officeart/2008/layout/RadialCluster"/>
    <dgm:cxn modelId="{97EBF654-199D-438C-8700-E0E8CB80F800}" srcId="{290BB4F9-5BC1-4F4E-9581-072EA8331EDF}" destId="{130C08B8-F110-4D1B-8EC9-6075C425CBF7}" srcOrd="2" destOrd="0" parTransId="{42B8D8B3-B974-4597-A273-875D61E5F04F}" sibTransId="{F47ADD70-0333-4240-99E0-8AB204C6228E}"/>
    <dgm:cxn modelId="{587A1436-A6DA-4F88-8261-42019C1989B6}" type="presOf" srcId="{290BB4F9-5BC1-4F4E-9581-072EA8331EDF}" destId="{13A7C093-5F75-4B5E-8B98-03F42A976125}" srcOrd="0" destOrd="0" presId="urn:microsoft.com/office/officeart/2008/layout/RadialCluster"/>
    <dgm:cxn modelId="{A4F6EE07-4E4D-41D9-A258-AD9627A18CB4}" type="presOf" srcId="{16723ACD-9293-45C6-9C5C-567D9D84BB74}" destId="{5BC651E6-7CC5-4E95-8D94-0E89535AD029}" srcOrd="0" destOrd="0" presId="urn:microsoft.com/office/officeart/2008/layout/RadialCluster"/>
    <dgm:cxn modelId="{B8AABE4B-F391-46C4-91BA-0838272CE592}" type="presOf" srcId="{57076885-AD61-4B20-92A4-127BA28C0F24}" destId="{EF3728E2-FF76-4D84-8AB5-EC37A8F66F60}" srcOrd="0" destOrd="0" presId="urn:microsoft.com/office/officeart/2008/layout/RadialCluster"/>
    <dgm:cxn modelId="{1F0FE89D-5238-4115-B36F-4DED77B7C413}" srcId="{290BB4F9-5BC1-4F4E-9581-072EA8331EDF}" destId="{7687A1B6-7FF9-49C2-9086-A73879C45A56}" srcOrd="1" destOrd="0" parTransId="{19DA604D-897D-469F-B28D-F3EB2B63980B}" sibTransId="{5BB1BE1C-3C3E-4576-849E-EE7E8B11C8CD}"/>
    <dgm:cxn modelId="{610BC245-6738-46FD-97B6-0C21AB7529AE}" type="presOf" srcId="{9EA08BE9-BF66-46D0-B30D-D4E35A8EC6C5}" destId="{D07F1BDF-8133-4846-8E84-F91E005DD529}" srcOrd="0" destOrd="0" presId="urn:microsoft.com/office/officeart/2008/layout/RadialCluster"/>
    <dgm:cxn modelId="{24D9EE07-13CD-4A99-B8DB-B3F3AE85F3CF}" type="presOf" srcId="{19DA604D-897D-469F-B28D-F3EB2B63980B}" destId="{5DBF9A6F-E7A9-4D37-B89B-07DCC14D71A6}" srcOrd="0" destOrd="0" presId="urn:microsoft.com/office/officeart/2008/layout/RadialCluster"/>
    <dgm:cxn modelId="{595611AB-7421-452C-9830-9C71AE19D7BF}" srcId="{5982E618-AB1D-4610-9E75-91C494DC36A6}" destId="{290BB4F9-5BC1-4F4E-9581-072EA8331EDF}" srcOrd="0" destOrd="0" parTransId="{B48080F0-5748-4362-8AC8-39797A235A49}" sibTransId="{F0124EAA-0CE0-4706-9D83-C054223F36EE}"/>
    <dgm:cxn modelId="{0BB6CB34-F96F-48B7-BFFD-031FBBB64AA4}" srcId="{290BB4F9-5BC1-4F4E-9581-072EA8331EDF}" destId="{CE52BEFD-80E6-4F64-87F4-4285F6348B72}" srcOrd="0" destOrd="0" parTransId="{3AB6C328-54D5-4125-8E44-AC28E3EA5470}" sibTransId="{163180EC-9EE2-4DB3-82A6-CAA860624126}"/>
    <dgm:cxn modelId="{0A6DCCD3-7802-4384-8C21-A6BA4891AE4D}" type="presOf" srcId="{CE52BEFD-80E6-4F64-87F4-4285F6348B72}" destId="{C86952D1-93E2-4A12-BA08-8F6FAB313DFD}" srcOrd="0" destOrd="0" presId="urn:microsoft.com/office/officeart/2008/layout/RadialCluster"/>
    <dgm:cxn modelId="{0A6DFD37-F9DC-4DB3-AF06-3578E173676A}" type="presOf" srcId="{71734CAC-5399-4614-B10E-400ED309C7EF}" destId="{1DAB37DA-31D8-4BBA-A49C-6429613F2C67}" srcOrd="0" destOrd="0" presId="urn:microsoft.com/office/officeart/2008/layout/RadialCluster"/>
    <dgm:cxn modelId="{2BCCC555-FA72-48F6-B17B-E02E1FB3A988}" srcId="{290BB4F9-5BC1-4F4E-9581-072EA8331EDF}" destId="{C9625652-342B-4F08-8FEB-126FD1E67563}" srcOrd="3" destOrd="0" parTransId="{57076885-AD61-4B20-92A4-127BA28C0F24}" sibTransId="{97B1EA41-6C25-4A51-8E93-257666A214D5}"/>
    <dgm:cxn modelId="{31376F7F-B1EE-4641-A06A-9D50921C13F1}" srcId="{290BB4F9-5BC1-4F4E-9581-072EA8331EDF}" destId="{71734CAC-5399-4614-B10E-400ED309C7EF}" srcOrd="4" destOrd="0" parTransId="{9EA08BE9-BF66-46D0-B30D-D4E35A8EC6C5}" sibTransId="{D6F4B00F-8CA4-4C2E-987D-83B05FF2FD2E}"/>
    <dgm:cxn modelId="{C4486C49-0FC2-49C6-9D04-8A57880D3A6D}" type="presOf" srcId="{7687A1B6-7FF9-49C2-9086-A73879C45A56}" destId="{2F2751FC-61E5-42C2-96FE-F680E7DBFDCA}" srcOrd="0" destOrd="0" presId="urn:microsoft.com/office/officeart/2008/layout/RadialCluster"/>
    <dgm:cxn modelId="{14817963-6968-4393-AA74-A70954B99E1C}" type="presOf" srcId="{42B8D8B3-B974-4597-A273-875D61E5F04F}" destId="{CE53EB61-C4A9-4A46-8238-7CCD06C6BF62}" srcOrd="0" destOrd="0" presId="urn:microsoft.com/office/officeart/2008/layout/RadialCluster"/>
    <dgm:cxn modelId="{81BCCBB0-D1E2-4149-9739-70095C013D61}" type="presParOf" srcId="{1DD57D03-65C0-45F4-A5AF-6EE8976FB354}" destId="{71696BE8-4769-400E-BEAB-97F2EEAE3EF5}" srcOrd="0" destOrd="0" presId="urn:microsoft.com/office/officeart/2008/layout/RadialCluster"/>
    <dgm:cxn modelId="{5562D4E1-25CE-4DB3-8B04-6E2144F830F6}" type="presParOf" srcId="{71696BE8-4769-400E-BEAB-97F2EEAE3EF5}" destId="{13A7C093-5F75-4B5E-8B98-03F42A976125}" srcOrd="0" destOrd="0" presId="urn:microsoft.com/office/officeart/2008/layout/RadialCluster"/>
    <dgm:cxn modelId="{05A28296-7CB3-4FE4-ABC8-FABC4EB4673B}" type="presParOf" srcId="{71696BE8-4769-400E-BEAB-97F2EEAE3EF5}" destId="{F5BB86A4-E811-4581-BF55-900CFA683DF3}" srcOrd="1" destOrd="0" presId="urn:microsoft.com/office/officeart/2008/layout/RadialCluster"/>
    <dgm:cxn modelId="{86ACCF8B-901A-44D0-8AF5-0DF354666309}" type="presParOf" srcId="{71696BE8-4769-400E-BEAB-97F2EEAE3EF5}" destId="{C86952D1-93E2-4A12-BA08-8F6FAB313DFD}" srcOrd="2" destOrd="0" presId="urn:microsoft.com/office/officeart/2008/layout/RadialCluster"/>
    <dgm:cxn modelId="{AC98EE4D-ED08-480D-A275-F98C897BCE84}" type="presParOf" srcId="{71696BE8-4769-400E-BEAB-97F2EEAE3EF5}" destId="{5DBF9A6F-E7A9-4D37-B89B-07DCC14D71A6}" srcOrd="3" destOrd="0" presId="urn:microsoft.com/office/officeart/2008/layout/RadialCluster"/>
    <dgm:cxn modelId="{CD89830C-AE26-4CDA-B32A-C6E1F89F1841}" type="presParOf" srcId="{71696BE8-4769-400E-BEAB-97F2EEAE3EF5}" destId="{2F2751FC-61E5-42C2-96FE-F680E7DBFDCA}" srcOrd="4" destOrd="0" presId="urn:microsoft.com/office/officeart/2008/layout/RadialCluster"/>
    <dgm:cxn modelId="{D9C51D72-9DE2-42DE-B2C4-77967683E761}" type="presParOf" srcId="{71696BE8-4769-400E-BEAB-97F2EEAE3EF5}" destId="{CE53EB61-C4A9-4A46-8238-7CCD06C6BF62}" srcOrd="5" destOrd="0" presId="urn:microsoft.com/office/officeart/2008/layout/RadialCluster"/>
    <dgm:cxn modelId="{3DB9AF47-75AB-4D7D-A493-9CA0E899184E}" type="presParOf" srcId="{71696BE8-4769-400E-BEAB-97F2EEAE3EF5}" destId="{92441BEB-9637-40E3-87FA-CBA3C1335146}" srcOrd="6" destOrd="0" presId="urn:microsoft.com/office/officeart/2008/layout/RadialCluster"/>
    <dgm:cxn modelId="{47DB5A29-72CE-473E-892D-97459F3C2BFB}" type="presParOf" srcId="{71696BE8-4769-400E-BEAB-97F2EEAE3EF5}" destId="{EF3728E2-FF76-4D84-8AB5-EC37A8F66F60}" srcOrd="7" destOrd="0" presId="urn:microsoft.com/office/officeart/2008/layout/RadialCluster"/>
    <dgm:cxn modelId="{0DDBE593-F21C-4E9F-9B67-ECE75007C823}" type="presParOf" srcId="{71696BE8-4769-400E-BEAB-97F2EEAE3EF5}" destId="{47EAE777-9F75-420B-9306-0B013BB4FBC3}" srcOrd="8" destOrd="0" presId="urn:microsoft.com/office/officeart/2008/layout/RadialCluster"/>
    <dgm:cxn modelId="{6F96DF2B-363E-422D-BA5D-248281DBD351}" type="presParOf" srcId="{71696BE8-4769-400E-BEAB-97F2EEAE3EF5}" destId="{D07F1BDF-8133-4846-8E84-F91E005DD529}" srcOrd="9" destOrd="0" presId="urn:microsoft.com/office/officeart/2008/layout/RadialCluster"/>
    <dgm:cxn modelId="{427D9612-0EF6-46EE-861B-553625B36E52}" type="presParOf" srcId="{71696BE8-4769-400E-BEAB-97F2EEAE3EF5}" destId="{1DAB37DA-31D8-4BBA-A49C-6429613F2C67}" srcOrd="10" destOrd="0" presId="urn:microsoft.com/office/officeart/2008/layout/RadialCluster"/>
    <dgm:cxn modelId="{694F1FA3-6E26-4467-9F8B-4A0010BF0563}" type="presParOf" srcId="{71696BE8-4769-400E-BEAB-97F2EEAE3EF5}" destId="{5BC651E6-7CC5-4E95-8D94-0E89535AD029}" srcOrd="11" destOrd="0" presId="urn:microsoft.com/office/officeart/2008/layout/RadialCluster"/>
    <dgm:cxn modelId="{DEE6F526-9CB3-4132-8CF4-50EE9EE79A77}" type="presParOf" srcId="{71696BE8-4769-400E-BEAB-97F2EEAE3EF5}" destId="{83A776A5-F653-4CEF-A983-F4F095F03D9D}" srcOrd="12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506AA2-5A60-42A8-A6C3-5D4A8CDD3522}" type="datetimeFigureOut">
              <a:rPr lang="ru-RU" smtClean="0"/>
              <a:t>26.02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131351-6ADE-4B37-8383-2580F06A9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06033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prstClr val="black"/>
                </a:solidFill>
              </a:rPr>
              <a:t>Рассолов ,АВ,ОВК УСОЮЛ ОО "ЦСКО" Рассолов А.В.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14B3AA6-19A2-4514-909B-1BD612E5C277}" type="slidenum">
              <a:rPr lang="en-AU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7935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131351-6ADE-4B37-8383-2580F06A9532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70529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131351-6ADE-4B37-8383-2580F06A9532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70529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131351-6ADE-4B37-8383-2580F06A9532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70529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9"/>
          <p:cNvSpPr>
            <a:spLocks noChangeShapeType="1"/>
          </p:cNvSpPr>
          <p:nvPr/>
        </p:nvSpPr>
        <p:spPr bwMode="auto">
          <a:xfrm>
            <a:off x="0" y="1014413"/>
            <a:ext cx="652463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0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" name="Group 7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0" y="0"/>
            <a:chExt cx="5760" cy="4320"/>
          </a:xfrm>
        </p:grpSpPr>
        <p:sp>
          <p:nvSpPr>
            <p:cNvPr id="4" name="AutoShape 49"/>
            <p:cNvSpPr>
              <a:spLocks noChangeArrowheads="1"/>
            </p:cNvSpPr>
            <p:nvPr/>
          </p:nvSpPr>
          <p:spPr bwMode="auto">
            <a:xfrm>
              <a:off x="60" y="52"/>
              <a:ext cx="336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" name="AutoShape 50"/>
            <p:cNvSpPr>
              <a:spLocks noChangeArrowheads="1"/>
            </p:cNvSpPr>
            <p:nvPr/>
          </p:nvSpPr>
          <p:spPr bwMode="auto">
            <a:xfrm>
              <a:off x="5372" y="52"/>
              <a:ext cx="336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" name="AutoShape 51"/>
            <p:cNvSpPr>
              <a:spLocks noChangeArrowheads="1"/>
            </p:cNvSpPr>
            <p:nvPr/>
          </p:nvSpPr>
          <p:spPr bwMode="auto">
            <a:xfrm>
              <a:off x="60" y="3937"/>
              <a:ext cx="336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AutoShape 52"/>
            <p:cNvSpPr>
              <a:spLocks noChangeArrowheads="1"/>
            </p:cNvSpPr>
            <p:nvPr/>
          </p:nvSpPr>
          <p:spPr bwMode="auto">
            <a:xfrm>
              <a:off x="5372" y="3937"/>
              <a:ext cx="336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Rectangle 53"/>
            <p:cNvSpPr>
              <a:spLocks noChangeArrowheads="1"/>
            </p:cNvSpPr>
            <p:nvPr/>
          </p:nvSpPr>
          <p:spPr bwMode="auto">
            <a:xfrm>
              <a:off x="0" y="0"/>
              <a:ext cx="228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Rectangle 54"/>
            <p:cNvSpPr>
              <a:spLocks noChangeArrowheads="1"/>
            </p:cNvSpPr>
            <p:nvPr/>
          </p:nvSpPr>
          <p:spPr bwMode="auto">
            <a:xfrm>
              <a:off x="5540" y="0"/>
              <a:ext cx="220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55"/>
            <p:cNvSpPr>
              <a:spLocks noChangeArrowheads="1"/>
            </p:cNvSpPr>
            <p:nvPr/>
          </p:nvSpPr>
          <p:spPr bwMode="auto">
            <a:xfrm>
              <a:off x="0" y="0"/>
              <a:ext cx="5760" cy="2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Rectangle 56"/>
            <p:cNvSpPr>
              <a:spLocks noChangeArrowheads="1"/>
            </p:cNvSpPr>
            <p:nvPr/>
          </p:nvSpPr>
          <p:spPr bwMode="auto">
            <a:xfrm>
              <a:off x="0" y="4105"/>
              <a:ext cx="5760" cy="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2" name="Picture 33" descr="ray_01_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525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16202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44207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1856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363" y="393700"/>
            <a:ext cx="1874837" cy="56070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7263" y="393700"/>
            <a:ext cx="5473700" cy="56070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6993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5" y="393700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957263" y="1711325"/>
            <a:ext cx="7500937" cy="4289425"/>
          </a:xfrm>
        </p:spPr>
        <p:txBody>
          <a:bodyPr/>
          <a:lstStyle/>
          <a:p>
            <a:pPr lvl="0"/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24890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5" y="393700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57263" y="1711325"/>
            <a:ext cx="7500937" cy="4289425"/>
          </a:xfrm>
        </p:spPr>
        <p:txBody>
          <a:bodyPr/>
          <a:lstStyle/>
          <a:p>
            <a:pPr lvl="0"/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2231890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00C32F-F5BE-4478-805D-441BDE4959F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BE416A-BB5F-4588-9148-A202E84C6E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3180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06CCDB-D0E5-4414-B74C-BC12BF4027A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BE416A-BB5F-4588-9148-A202E84C6E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1322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18B76-4CFB-43AF-8B16-269C126143E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BE416A-BB5F-4588-9148-A202E84C6E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6908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1267D6-563C-44DA-90AE-A60AA1BAFE0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BE416A-BB5F-4588-9148-A202E84C6E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0405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154D7F-1EE4-46D0-9901-1E46D67E077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BE416A-BB5F-4588-9148-A202E84C6E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2207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9882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85905-99D1-47D6-B02A-54B93C4A15A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BE416A-BB5F-4588-9148-A202E84C6E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46524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D9068-C95E-416D-A1C8-B473DB8D352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BE416A-BB5F-4588-9148-A202E84C6E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266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DA25F-30E1-426F-A20E-E14C4F4C69C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BE416A-BB5F-4588-9148-A202E84C6E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16294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C19118-DA1C-4545-BA6D-A38162D3D09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BE416A-BB5F-4588-9148-A202E84C6E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4153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383E4B-FFA1-467B-B2D5-EC256A6AD15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BE416A-BB5F-4588-9148-A202E84C6E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42978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D21D6-0B49-4FFE-B3B9-BD0969F668C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BE416A-BB5F-4588-9148-A202E84C6E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2427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801" y="237834"/>
            <a:ext cx="6858405" cy="292388"/>
          </a:xfrm>
        </p:spPr>
        <p:txBody>
          <a:bodyPr anchor="ctr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4" name="Picture 53" descr="Сбербанк России. Всегда рядом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909" y="93946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0957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801" y="237834"/>
            <a:ext cx="6858405" cy="292388"/>
          </a:xfrm>
        </p:spPr>
        <p:txBody>
          <a:bodyPr anchor="ctr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4" name="Picture 53" descr="Сбербанк России. Всегда рядом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909" y="93946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9617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82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57892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7263" y="1711325"/>
            <a:ext cx="3673475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83138" y="1711325"/>
            <a:ext cx="3675062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566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786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620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0662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02151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4.jp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oleObject" Target="../embeddings/oleObject1.bin"/><Relationship Id="rId3" Type="http://schemas.openxmlformats.org/officeDocument/2006/relationships/vmlDrawing" Target="../drawings/vmlDrawing1.vml"/><Relationship Id="rId21" Type="http://schemas.openxmlformats.org/officeDocument/2006/relationships/image" Target="../media/image7.png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theme" Target="../theme/theme3.xml"/><Relationship Id="rId16" Type="http://schemas.openxmlformats.org/officeDocument/2006/relationships/tags" Target="../tags/tag13.xml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19" Type="http://schemas.openxmlformats.org/officeDocument/2006/relationships/image" Target="../media/image5.emf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microsoft.com/office/2007/relationships/hdphoto" Target="../media/hdphoto1.wdp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oleObject" Target="../embeddings/oleObject2.bin"/><Relationship Id="rId3" Type="http://schemas.openxmlformats.org/officeDocument/2006/relationships/vmlDrawing" Target="../drawings/vmlDrawing2.vml"/><Relationship Id="rId21" Type="http://schemas.openxmlformats.org/officeDocument/2006/relationships/image" Target="../media/image7.png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" Type="http://schemas.openxmlformats.org/officeDocument/2006/relationships/theme" Target="../theme/theme4.xml"/><Relationship Id="rId16" Type="http://schemas.openxmlformats.org/officeDocument/2006/relationships/tags" Target="../tags/tag27.xml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27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10" Type="http://schemas.openxmlformats.org/officeDocument/2006/relationships/tags" Target="../tags/tag21.xml"/><Relationship Id="rId19" Type="http://schemas.openxmlformats.org/officeDocument/2006/relationships/image" Target="../media/image5.emf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microsoft.com/office/2007/relationships/hdphoto" Target="../media/hdphoto1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4" descr="LEFT_01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395288" cy="619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55650" y="393700"/>
            <a:ext cx="590550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55650" y="1516063"/>
            <a:ext cx="8137525" cy="472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029" name="Line 6"/>
          <p:cNvSpPr>
            <a:spLocks noChangeShapeType="1"/>
          </p:cNvSpPr>
          <p:nvPr/>
        </p:nvSpPr>
        <p:spPr bwMode="auto">
          <a:xfrm>
            <a:off x="722313" y="836613"/>
            <a:ext cx="8050212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0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30" name="Line 9"/>
          <p:cNvSpPr>
            <a:spLocks noChangeShapeType="1"/>
          </p:cNvSpPr>
          <p:nvPr/>
        </p:nvSpPr>
        <p:spPr bwMode="auto">
          <a:xfrm>
            <a:off x="0" y="1014413"/>
            <a:ext cx="652463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0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031" name="Group 13"/>
          <p:cNvGrpSpPr>
            <a:grpSpLocks/>
          </p:cNvGrpSpPr>
          <p:nvPr/>
        </p:nvGrpSpPr>
        <p:grpSpPr bwMode="auto">
          <a:xfrm>
            <a:off x="8521700" y="6572250"/>
            <a:ext cx="615950" cy="241300"/>
            <a:chOff x="5100" y="3932"/>
            <a:chExt cx="660" cy="152"/>
          </a:xfrm>
        </p:grpSpPr>
        <p:sp>
          <p:nvSpPr>
            <p:cNvPr id="1034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35" name="Rectangle 11"/>
            <p:cNvSpPr>
              <a:spLocks noChangeArrowheads="1"/>
            </p:cNvSpPr>
            <p:nvPr userDrawn="1"/>
          </p:nvSpPr>
          <p:spPr bwMode="auto">
            <a:xfrm>
              <a:off x="5665" y="3932"/>
              <a:ext cx="95" cy="152"/>
            </a:xfrm>
            <a:prstGeom prst="rect">
              <a:avLst/>
            </a:prstGeom>
            <a:solidFill>
              <a:srgbClr val="7DC2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pPr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ru-RU" sz="120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032" name="Rectangle 19"/>
          <p:cNvSpPr>
            <a:spLocks noChangeArrowheads="1"/>
          </p:cNvSpPr>
          <p:nvPr/>
        </p:nvSpPr>
        <p:spPr bwMode="auto">
          <a:xfrm>
            <a:off x="8667750" y="6562725"/>
            <a:ext cx="354013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3788DB50-2F6F-4BC8-98B5-83A121D8B808}" type="slidenum">
              <a:rPr lang="ru-RU" sz="1200" b="1">
                <a:solidFill>
                  <a:srgbClr val="FFFFFF"/>
                </a:solidFill>
                <a:latin typeface="Arial" pitchFamily="34" charset="0"/>
                <a:ea typeface="ヒラギノ角ゴ Pro W3"/>
                <a:cs typeface="ヒラギノ角ゴ Pro W3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200">
              <a:solidFill>
                <a:srgbClr val="FFFFFF"/>
              </a:solidFill>
              <a:latin typeface="Arial" pitchFamily="34" charset="0"/>
              <a:ea typeface="ヒラギノ角ゴ Pro W3"/>
              <a:cs typeface="ヒラギノ角ゴ Pro W3"/>
            </a:endParaRPr>
          </a:p>
        </p:txBody>
      </p:sp>
      <p:pic>
        <p:nvPicPr>
          <p:cNvPr id="1033" name="Picture 15" descr="logo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9913" y="136525"/>
            <a:ext cx="1871662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72151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</p:sldLayoutIdLst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800">
          <a:solidFill>
            <a:srgbClr val="00703C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00703C"/>
          </a:solidFill>
          <a:latin typeface="+mn-lt"/>
          <a:ea typeface="+mn-ea"/>
        </a:defRPr>
      </a:lvl2pPr>
      <a:lvl3pPr marL="11430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rgbClr val="00703C"/>
          </a:solidFill>
          <a:latin typeface="+mn-lt"/>
          <a:ea typeface="+mn-ea"/>
        </a:defRPr>
      </a:lvl3pPr>
      <a:lvl4pPr marL="15621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+mn-lt"/>
          <a:ea typeface="+mn-ea"/>
        </a:defRPr>
      </a:lvl4pPr>
      <a:lvl5pPr marL="19812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  <a:ea typeface="+mn-ea"/>
        </a:defRPr>
      </a:lvl5pPr>
      <a:lvl6pPr marL="24384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6pPr>
      <a:lvl7pPr marL="28956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7pPr>
      <a:lvl8pPr marL="33528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8pPr>
      <a:lvl9pPr marL="38100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901479-A31A-4A34-B8B4-3778B77519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BE416A-BB5F-4588-9148-A202E84C6E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0405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9552884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24661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484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091714" y="1980989"/>
            <a:ext cx="196207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578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1/23/2013 3:30 PM Russian Standard Time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950097" y="4198961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578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</a:rPr>
              <a:t>Printed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1482160" y="1990668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121502" y="234864"/>
            <a:ext cx="68632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85789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808080"/>
                </a:solidFill>
              </a:rPr>
              <a:t>TRACKER</a:t>
            </a:r>
            <a:endParaRPr lang="en-US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1796" y="785578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smtClean="0">
                <a:solidFill>
                  <a:srgbClr val="808080"/>
                </a:solidFill>
              </a:rPr>
              <a:t>Unit of measure</a:t>
            </a:r>
            <a:endParaRPr lang="en-US" sz="1600" dirty="0" smtClean="0">
              <a:solidFill>
                <a:srgbClr val="808080"/>
              </a:solidFill>
            </a:endParaRPr>
          </a:p>
        </p:txBody>
      </p:sp>
      <p:grpSp>
        <p:nvGrpSpPr>
          <p:cNvPr id="12" name="McK Slide Elements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21489" y="6205267"/>
            <a:ext cx="8722840" cy="516699"/>
            <a:chOff x="75" y="3831"/>
            <a:chExt cx="5385" cy="319"/>
          </a:xfrm>
        </p:grpSpPr>
        <p:sp>
          <p:nvSpPr>
            <p:cNvPr id="13" name="McK 4. Footnote" hidden="1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Arial"/>
                </a:rPr>
                <a:t>1 Сноска</a:t>
              </a:r>
              <a:endParaRPr lang="en-US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 hidden="1"/>
            <p:cNvSpPr>
              <a:spLocks noChangeArrowheads="1"/>
            </p:cNvSpPr>
            <p:nvPr/>
          </p:nvSpPr>
          <p:spPr bwMode="auto">
            <a:xfrm>
              <a:off x="75" y="4055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02454" indent="-602454" defTabSz="884846" fontAlgn="base">
                <a:spcBef>
                  <a:spcPct val="0"/>
                </a:spcBef>
                <a:spcAft>
                  <a:spcPct val="0"/>
                </a:spcAft>
                <a:tabLst>
                  <a:tab pos="605590" algn="l"/>
                </a:tabLst>
              </a:pPr>
              <a:r>
                <a:rPr lang="en-US" sz="1000">
                  <a:solidFill>
                    <a:srgbClr val="000000"/>
                  </a:solidFill>
                </a:rPr>
                <a:t>ИСТОЧНИК: источник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482165" y="1158118"/>
            <a:ext cx="4350892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8578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000000"/>
                  </a:solidFill>
                </a:rPr>
                <a:t>Title</a:t>
              </a:r>
            </a:p>
            <a:p>
              <a:pPr defTabSz="88578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</a:rPr>
                <a:t>Unit of measure</a:t>
              </a:r>
              <a:endParaRPr lang="en-US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245795" y="6567250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84846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590626" y="6534383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4846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/>
        </p:nvSpPr>
        <p:spPr>
          <a:xfrm>
            <a:off x="8777924" y="6547009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85789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defTabSz="885789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6" name="Picture 53" descr="Сбербанк России. Всегда рядом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909" y="93946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8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1" cstate="print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6250" b="87500" l="554" r="100000">
                        <a14:foregroundMark x1="72042" y1="75000" x2="89135" y2="62500"/>
                        <a14:foregroundMark x1="71696" y1="68750" x2="62076" y2="68750"/>
                        <a14:foregroundMark x1="91003" y1="56250" x2="94394" y2="56250"/>
                        <a14:foregroundMark x1="7197" y1="68750" x2="554" y2="68750"/>
                        <a14:foregroundMark x1="8720" y1="50000" x2="45260" y2="68750"/>
                        <a14:foregroundMark x1="98478" y1="75000" x2="99031" y2="43750"/>
                        <a14:backgroundMark x1="86851" y1="25000" x2="91696" y2="18750"/>
                        <a14:backgroundMark x1="99723" y1="62500" x2="99723" y2="62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51" y="656820"/>
            <a:ext cx="8988494" cy="124720"/>
          </a:xfrm>
          <a:prstGeom prst="rect">
            <a:avLst/>
          </a:prstGeom>
          <a:noFill/>
          <a:ln>
            <a:noFill/>
          </a:ln>
          <a:effectLst/>
          <a:extLst/>
        </p:spPr>
      </p:pic>
      <p:pic>
        <p:nvPicPr>
          <p:cNvPr id="30" name="Picture 48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 cstate="print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6250" b="87500" l="554" r="100000">
                        <a14:foregroundMark x1="72042" y1="75000" x2="89135" y2="62500"/>
                        <a14:foregroundMark x1="71696" y1="68750" x2="62076" y2="68750"/>
                        <a14:foregroundMark x1="91003" y1="56250" x2="94394" y2="56250"/>
                        <a14:foregroundMark x1="7197" y1="68750" x2="554" y2="68750"/>
                        <a14:foregroundMark x1="8720" y1="50000" x2="45260" y2="68750"/>
                        <a14:foregroundMark x1="98478" y1="75000" x2="99031" y2="43750"/>
                        <a14:backgroundMark x1="86851" y1="25000" x2="91696" y2="18750"/>
                        <a14:backgroundMark x1="99723" y1="62500" x2="99723" y2="62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51" y="6676589"/>
            <a:ext cx="8988494" cy="124720"/>
          </a:xfrm>
          <a:prstGeom prst="rect">
            <a:avLst/>
          </a:prstGeom>
          <a:noFill/>
          <a:ln>
            <a:noFill/>
          </a:ln>
          <a:effectLst/>
          <a:extLst/>
        </p:spPr>
      </p:pic>
    </p:spTree>
    <p:extLst>
      <p:ext uri="{BB962C8B-B14F-4D97-AF65-F5344CB8AC3E}">
        <p14:creationId xmlns:p14="http://schemas.microsoft.com/office/powerpoint/2010/main" val="1815351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4846" rtl="0" eaLnBrk="1" fontAlgn="base" hangingPunct="1">
        <a:spcBef>
          <a:spcPct val="0"/>
        </a:spcBef>
        <a:spcAft>
          <a:spcPct val="0"/>
        </a:spcAft>
        <a:tabLst>
          <a:tab pos="353005" algn="l"/>
        </a:tabLst>
        <a:defRPr sz="19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848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48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48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48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1777" algn="l" defTabSz="8848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3667" algn="l" defTabSz="8848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55513" algn="l" defTabSz="8848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07352" algn="l" defTabSz="8848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484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1408" indent="-189848" algn="l" defTabSz="884846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1777" indent="-258872" algn="l" defTabSz="88484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07160" indent="-153740" algn="l" defTabSz="88484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1018" indent="-128655" algn="l" defTabSz="884846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1018" indent="-128655" algn="l" defTabSz="8848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1018" indent="-128655" algn="l" defTabSz="8848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1018" indent="-128655" algn="l" defTabSz="8848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1018" indent="-128655" algn="l" defTabSz="8848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3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777" algn="l" defTabSz="903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3667" algn="l" defTabSz="903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5513" algn="l" defTabSz="903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7352" algn="l" defTabSz="903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9187" algn="l" defTabSz="903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1027" algn="l" defTabSz="903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62864" algn="l" defTabSz="903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4705" algn="l" defTabSz="903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82973775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24661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484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091714" y="1980989"/>
            <a:ext cx="196207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578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1/23/2013 3:30 PM Russian Standard Time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950097" y="4198961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578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</a:rPr>
              <a:t>Printed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1482160" y="1990668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121502" y="234864"/>
            <a:ext cx="68632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85789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808080"/>
                </a:solidFill>
              </a:rPr>
              <a:t>TRACKER</a:t>
            </a:r>
            <a:endParaRPr lang="en-US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1796" y="785578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smtClean="0">
                <a:solidFill>
                  <a:srgbClr val="808080"/>
                </a:solidFill>
              </a:rPr>
              <a:t>Unit of measure</a:t>
            </a:r>
            <a:endParaRPr lang="en-US" sz="1600" dirty="0" smtClean="0">
              <a:solidFill>
                <a:srgbClr val="808080"/>
              </a:solidFill>
            </a:endParaRPr>
          </a:p>
        </p:txBody>
      </p:sp>
      <p:grpSp>
        <p:nvGrpSpPr>
          <p:cNvPr id="12" name="McK Slide Elements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21489" y="6205267"/>
            <a:ext cx="8722840" cy="516699"/>
            <a:chOff x="75" y="3831"/>
            <a:chExt cx="5385" cy="319"/>
          </a:xfrm>
        </p:grpSpPr>
        <p:sp>
          <p:nvSpPr>
            <p:cNvPr id="13" name="McK 4. Footnote" hidden="1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Arial"/>
                </a:rPr>
                <a:t>1 Сноска</a:t>
              </a:r>
              <a:endParaRPr lang="en-US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 hidden="1"/>
            <p:cNvSpPr>
              <a:spLocks noChangeArrowheads="1"/>
            </p:cNvSpPr>
            <p:nvPr/>
          </p:nvSpPr>
          <p:spPr bwMode="auto">
            <a:xfrm>
              <a:off x="75" y="4055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02454" indent="-602454" defTabSz="884846" fontAlgn="base">
                <a:spcBef>
                  <a:spcPct val="0"/>
                </a:spcBef>
                <a:spcAft>
                  <a:spcPct val="0"/>
                </a:spcAft>
                <a:tabLst>
                  <a:tab pos="605590" algn="l"/>
                </a:tabLst>
              </a:pPr>
              <a:r>
                <a:rPr lang="en-US" sz="1000">
                  <a:solidFill>
                    <a:srgbClr val="000000"/>
                  </a:solidFill>
                </a:rPr>
                <a:t>ИСТОЧНИК: источник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482165" y="1158118"/>
            <a:ext cx="4350892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8578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000000"/>
                  </a:solidFill>
                </a:rPr>
                <a:t>Title</a:t>
              </a:r>
            </a:p>
            <a:p>
              <a:pPr defTabSz="88578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</a:rPr>
                <a:t>Unit of measure</a:t>
              </a:r>
              <a:endParaRPr lang="en-US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245795" y="6567250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84846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590626" y="6534383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4846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/>
        </p:nvSpPr>
        <p:spPr>
          <a:xfrm>
            <a:off x="8777924" y="6547009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85789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defTabSz="885789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6" name="Picture 53" descr="Сбербанк России. Всегда рядом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909" y="93946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8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1" cstate="print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6250" b="87500" l="554" r="100000">
                        <a14:foregroundMark x1="72042" y1="75000" x2="89135" y2="62500"/>
                        <a14:foregroundMark x1="71696" y1="68750" x2="62076" y2="68750"/>
                        <a14:foregroundMark x1="91003" y1="56250" x2="94394" y2="56250"/>
                        <a14:foregroundMark x1="7197" y1="68750" x2="554" y2="68750"/>
                        <a14:foregroundMark x1="8720" y1="50000" x2="45260" y2="68750"/>
                        <a14:foregroundMark x1="98478" y1="75000" x2="99031" y2="43750"/>
                        <a14:backgroundMark x1="86851" y1="25000" x2="91696" y2="18750"/>
                        <a14:backgroundMark x1="99723" y1="62500" x2="99723" y2="62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51" y="656820"/>
            <a:ext cx="8988494" cy="124720"/>
          </a:xfrm>
          <a:prstGeom prst="rect">
            <a:avLst/>
          </a:prstGeom>
          <a:noFill/>
          <a:ln>
            <a:noFill/>
          </a:ln>
          <a:effectLst/>
          <a:extLst/>
        </p:spPr>
      </p:pic>
      <p:pic>
        <p:nvPicPr>
          <p:cNvPr id="30" name="Picture 48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 cstate="print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6250" b="87500" l="554" r="100000">
                        <a14:foregroundMark x1="72042" y1="75000" x2="89135" y2="62500"/>
                        <a14:foregroundMark x1="71696" y1="68750" x2="62076" y2="68750"/>
                        <a14:foregroundMark x1="91003" y1="56250" x2="94394" y2="56250"/>
                        <a14:foregroundMark x1="7197" y1="68750" x2="554" y2="68750"/>
                        <a14:foregroundMark x1="8720" y1="50000" x2="45260" y2="68750"/>
                        <a14:foregroundMark x1="98478" y1="75000" x2="99031" y2="43750"/>
                        <a14:backgroundMark x1="86851" y1="25000" x2="91696" y2="18750"/>
                        <a14:backgroundMark x1="99723" y1="62500" x2="99723" y2="62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51" y="6676589"/>
            <a:ext cx="8988494" cy="124720"/>
          </a:xfrm>
          <a:prstGeom prst="rect">
            <a:avLst/>
          </a:prstGeom>
          <a:noFill/>
          <a:ln>
            <a:noFill/>
          </a:ln>
          <a:effectLst/>
          <a:extLst/>
        </p:spPr>
      </p:pic>
    </p:spTree>
    <p:extLst>
      <p:ext uri="{BB962C8B-B14F-4D97-AF65-F5344CB8AC3E}">
        <p14:creationId xmlns:p14="http://schemas.microsoft.com/office/powerpoint/2010/main" val="3743980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4846" rtl="0" eaLnBrk="1" fontAlgn="base" hangingPunct="1">
        <a:spcBef>
          <a:spcPct val="0"/>
        </a:spcBef>
        <a:spcAft>
          <a:spcPct val="0"/>
        </a:spcAft>
        <a:tabLst>
          <a:tab pos="353005" algn="l"/>
        </a:tabLst>
        <a:defRPr sz="19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848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48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48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48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1777" algn="l" defTabSz="8848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3667" algn="l" defTabSz="8848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55513" algn="l" defTabSz="8848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07352" algn="l" defTabSz="8848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484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1408" indent="-189848" algn="l" defTabSz="884846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1777" indent="-258872" algn="l" defTabSz="88484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07160" indent="-153740" algn="l" defTabSz="88484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1018" indent="-128655" algn="l" defTabSz="884846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1018" indent="-128655" algn="l" defTabSz="8848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1018" indent="-128655" algn="l" defTabSz="8848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1018" indent="-128655" algn="l" defTabSz="8848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1018" indent="-128655" algn="l" defTabSz="8848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3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777" algn="l" defTabSz="903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3667" algn="l" defTabSz="903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5513" algn="l" defTabSz="903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7352" algn="l" defTabSz="903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9187" algn="l" defTabSz="903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1027" algn="l" defTabSz="903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62864" algn="l" defTabSz="903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4705" algn="l" defTabSz="903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berved.ru/" TargetMode="Externa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358100"/>
            <a:ext cx="7772400" cy="3671099"/>
          </a:xfrm>
        </p:spPr>
        <p:txBody>
          <a:bodyPr>
            <a:noAutofit/>
          </a:bodyPr>
          <a:lstStyle/>
          <a:p>
            <a:r>
              <a:rPr lang="ru-RU" sz="3600" b="1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3600" b="1" dirty="0" smtClean="0">
                <a:latin typeface="Arial" pitchFamily="34" charset="0"/>
                <a:cs typeface="Arial" pitchFamily="34" charset="0"/>
              </a:rPr>
            </a:br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раткий</a:t>
            </a:r>
            <a:r>
              <a:rPr lang="en-US" sz="3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бзор изменений </a:t>
            </a:r>
            <a:b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 Валютном контроле</a:t>
            </a:r>
            <a:b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 01.0</a:t>
            </a:r>
            <a:r>
              <a:rPr lang="en-US" sz="3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2018г.</a:t>
            </a:r>
            <a:b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ru-RU" sz="1800" b="1" i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е включает порядок списания и зачисления ДС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  <a:r>
              <a:rPr lang="en-US" sz="3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3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endParaRPr lang="ru-RU" sz="36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86540" y="4311502"/>
            <a:ext cx="6400800" cy="2141834"/>
          </a:xfrm>
        </p:spPr>
        <p:txBody>
          <a:bodyPr>
            <a:normAutofit fontScale="92500" lnSpcReduction="10000"/>
          </a:bodyPr>
          <a:lstStyle/>
          <a:p>
            <a:endParaRPr lang="ru-RU" dirty="0" smtClean="0"/>
          </a:p>
          <a:p>
            <a:endParaRPr lang="ru-RU" dirty="0"/>
          </a:p>
          <a:p>
            <a:r>
              <a:rPr lang="ru-RU" b="1" i="1" dirty="0" smtClean="0">
                <a:solidFill>
                  <a:srgbClr val="002060"/>
                </a:solidFill>
              </a:rPr>
              <a:t>Консалтинговый центр</a:t>
            </a:r>
          </a:p>
          <a:p>
            <a:r>
              <a:rPr lang="ru-RU" b="1" i="1" dirty="0" smtClean="0">
                <a:solidFill>
                  <a:srgbClr val="002060"/>
                </a:solidFill>
              </a:rPr>
              <a:t>ПАО Сбербанк</a:t>
            </a:r>
          </a:p>
          <a:p>
            <a:endParaRPr lang="ru-RU" sz="2400" b="1" i="1" dirty="0" smtClean="0">
              <a:solidFill>
                <a:srgbClr val="002060"/>
              </a:solidFill>
            </a:endParaRPr>
          </a:p>
          <a:p>
            <a:endParaRPr lang="ru-RU" sz="2400" b="1" i="1" dirty="0" smtClean="0">
              <a:solidFill>
                <a:srgbClr val="002060"/>
              </a:solidFill>
            </a:endParaRPr>
          </a:p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BE416A-BB5F-4588-9148-A202E84C6E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52" y="587213"/>
            <a:ext cx="3530836" cy="770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249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1672" y="188640"/>
            <a:ext cx="6517146" cy="6731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ru-RU" sz="1600" kern="1200" dirty="0">
                <a:latin typeface="Arial"/>
              </a:rPr>
              <a:t>Постановка </a:t>
            </a:r>
            <a:r>
              <a:rPr lang="ru-RU" sz="1600" kern="1200" dirty="0" smtClean="0">
                <a:latin typeface="Arial"/>
              </a:rPr>
              <a:t>контракта на учет в банк </a:t>
            </a:r>
            <a:r>
              <a:rPr lang="ru-RU" sz="1600" kern="1200" dirty="0">
                <a:latin typeface="Arial"/>
              </a:rPr>
              <a:t/>
            </a:r>
            <a:br>
              <a:rPr lang="ru-RU" sz="1600" kern="1200" dirty="0">
                <a:latin typeface="Arial"/>
              </a:rPr>
            </a:br>
            <a:r>
              <a:rPr lang="ru-RU" sz="1600" kern="1200" dirty="0">
                <a:latin typeface="Arial"/>
              </a:rPr>
              <a:t>(Гл. 5 181-И)</a:t>
            </a:r>
          </a:p>
        </p:txBody>
      </p:sp>
      <p:sp>
        <p:nvSpPr>
          <p:cNvPr id="22" name="AutoShape 2"/>
          <p:cNvSpPr>
            <a:spLocks noChangeArrowheads="1"/>
          </p:cNvSpPr>
          <p:nvPr/>
        </p:nvSpPr>
        <p:spPr bwMode="auto">
          <a:xfrm>
            <a:off x="1187624" y="622544"/>
            <a:ext cx="6912767" cy="360040"/>
          </a:xfrm>
          <a:prstGeom prst="flowChartProcess">
            <a:avLst/>
          </a:prstGeom>
          <a:gradFill rotWithShape="1">
            <a:gsLst>
              <a:gs pos="0">
                <a:srgbClr val="EAF1DD"/>
              </a:gs>
              <a:gs pos="100000">
                <a:srgbClr val="EAF1DD">
                  <a:gamma/>
                  <a:tint val="95294"/>
                  <a:invGamma/>
                </a:srgbClr>
              </a:gs>
            </a:gsLst>
            <a:lin ang="540000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РЕЗИДЕНТ - </a:t>
            </a:r>
            <a:r>
              <a:rPr kumimoji="0" lang="ru-RU" altLang="ru-RU" sz="1800" b="1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Arial" pitchFamily="34" charset="0"/>
                <a:cs typeface="Arial" pitchFamily="34" charset="0"/>
              </a:rPr>
              <a:t>ЭКСПОРТЕР</a:t>
            </a:r>
          </a:p>
        </p:txBody>
      </p:sp>
      <p:sp>
        <p:nvSpPr>
          <p:cNvPr id="44" name="AutoShape 3"/>
          <p:cNvSpPr>
            <a:spLocks noChangeArrowheads="1"/>
          </p:cNvSpPr>
          <p:nvPr/>
        </p:nvSpPr>
        <p:spPr bwMode="auto">
          <a:xfrm>
            <a:off x="634325" y="1500621"/>
            <a:ext cx="3528392" cy="1296144"/>
          </a:xfrm>
          <a:prstGeom prst="flowChartProcess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>
                <a:solidFill>
                  <a:srgbClr val="FF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Экспортный контракт </a:t>
            </a:r>
            <a:endParaRPr lang="ru-RU" altLang="ru-RU" sz="1400" b="1" dirty="0" smtClean="0">
              <a:solidFill>
                <a:srgbClr val="FF000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rgbClr val="0070C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ли 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rgbClr val="FF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ыписку </a:t>
            </a:r>
            <a:r>
              <a:rPr lang="ru-RU" altLang="ru-RU" sz="1400" b="1" dirty="0">
                <a:solidFill>
                  <a:srgbClr val="FF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з экспортного контракта, </a:t>
            </a:r>
            <a:r>
              <a:rPr lang="ru-RU" altLang="ru-RU" sz="1200" b="1" dirty="0">
                <a:solidFill>
                  <a:srgbClr val="0070C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одержащую </a:t>
            </a:r>
            <a:r>
              <a:rPr lang="ru-RU" altLang="ru-RU" sz="1200" b="1" dirty="0" smtClean="0">
                <a:solidFill>
                  <a:srgbClr val="0070C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нформацию в рамках контроля ст</a:t>
            </a:r>
            <a:r>
              <a:rPr lang="ru-RU" altLang="ru-RU" sz="1200" b="1" dirty="0">
                <a:solidFill>
                  <a:srgbClr val="0070C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. 19 173-ФЗ.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ru-RU" altLang="ru-RU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0" name="AutoShape 3"/>
          <p:cNvSpPr>
            <a:spLocks noChangeArrowheads="1"/>
          </p:cNvSpPr>
          <p:nvPr/>
        </p:nvSpPr>
        <p:spPr bwMode="auto">
          <a:xfrm>
            <a:off x="5110625" y="1412776"/>
            <a:ext cx="3621508" cy="1944215"/>
          </a:xfrm>
          <a:prstGeom prst="flowChartProcess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>
                <a:solidFill>
                  <a:srgbClr val="FF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ведения об экспортном контракте </a:t>
            </a:r>
            <a:r>
              <a:rPr lang="ru-RU" altLang="ru-RU" sz="1400" b="1" baseline="300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altLang="ru-RU" sz="1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2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:</a:t>
            </a:r>
            <a:endParaRPr lang="ru-RU" altLang="ru-RU" sz="1200" b="1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1200" b="1" dirty="0">
                <a:solidFill>
                  <a:srgbClr val="0070C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ид ЭК (1, 3, </a:t>
            </a:r>
            <a:r>
              <a:rPr lang="ru-RU" altLang="ru-RU" sz="1200" b="1" dirty="0" smtClean="0">
                <a:solidFill>
                  <a:srgbClr val="0070C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9)</a:t>
            </a:r>
            <a:r>
              <a:rPr lang="ru-RU" altLang="ru-RU" sz="1200" b="1" baseline="30000" dirty="0" smtClean="0">
                <a:solidFill>
                  <a:srgbClr val="0070C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2</a:t>
            </a:r>
            <a:endParaRPr lang="ru-RU" altLang="ru-RU" sz="1200" b="1" baseline="30000" dirty="0">
              <a:solidFill>
                <a:srgbClr val="0070C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1200" b="1" dirty="0">
                <a:solidFill>
                  <a:srgbClr val="0070C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ата и номер (при наличии)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1200" b="1" dirty="0">
                <a:solidFill>
                  <a:srgbClr val="0070C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алюта ЭК (наименование)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1200" b="1" dirty="0">
                <a:solidFill>
                  <a:srgbClr val="0070C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умма обязательств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1200" b="1" dirty="0">
                <a:solidFill>
                  <a:srgbClr val="0070C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ата завершения исполнения обязательств по контракту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1200" b="1" dirty="0">
                <a:solidFill>
                  <a:srgbClr val="0070C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еквизиты нерезидента (нерезидентов): наименование, страна</a:t>
            </a:r>
            <a:r>
              <a:rPr lang="ru-RU" altLang="ru-RU" sz="1200" b="1" dirty="0" smtClean="0">
                <a:solidFill>
                  <a:srgbClr val="0070C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)</a:t>
            </a:r>
            <a:endParaRPr lang="ru-RU" altLang="ru-RU" sz="1600" b="1" dirty="0">
              <a:solidFill>
                <a:srgbClr val="0070C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1" name="Рисунок 60">
            <a:hlinkClick r:id="" action="ppaction://noaction"/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7706" y="3521433"/>
            <a:ext cx="519561" cy="496231"/>
          </a:xfrm>
          <a:prstGeom prst="rect">
            <a:avLst/>
          </a:prstGeom>
        </p:spPr>
      </p:pic>
      <p:sp>
        <p:nvSpPr>
          <p:cNvPr id="62" name="TextBox 61"/>
          <p:cNvSpPr txBox="1"/>
          <p:nvPr/>
        </p:nvSpPr>
        <p:spPr>
          <a:xfrm>
            <a:off x="6151386" y="4502291"/>
            <a:ext cx="260852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** Если сведения о контракте не </a:t>
            </a:r>
            <a:r>
              <a:rPr lang="ru-RU" sz="1200" b="1" dirty="0">
                <a:solidFill>
                  <a:srgbClr val="0070C0"/>
                </a:solidFill>
                <a:latin typeface="Arial Narrow" panose="020B0606020202030204" pitchFamily="34" charset="0"/>
              </a:rPr>
              <a:t>соответствуют экспортному контракту, </a:t>
            </a:r>
            <a:endParaRPr lang="ru-RU" sz="1200" b="1" dirty="0" smtClean="0">
              <a:solidFill>
                <a:srgbClr val="0070C0"/>
              </a:solidFill>
              <a:latin typeface="Arial Narrow" panose="020B0606020202030204" pitchFamily="34" charset="0"/>
            </a:endParaRPr>
          </a:p>
          <a:p>
            <a:r>
              <a:rPr lang="ru-RU" sz="12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банк </a:t>
            </a:r>
            <a:r>
              <a:rPr lang="ru-RU" sz="1200" b="1" dirty="0">
                <a:solidFill>
                  <a:srgbClr val="FF0000"/>
                </a:solidFill>
                <a:latin typeface="Arial Narrow" panose="020B0606020202030204" pitchFamily="34" charset="0"/>
              </a:rPr>
              <a:t>УК самостоятельно</a:t>
            </a:r>
            <a:r>
              <a:rPr lang="ru-RU" sz="1200" b="1" dirty="0">
                <a:solidFill>
                  <a:srgbClr val="0070C0"/>
                </a:solidFill>
                <a:latin typeface="Arial Narrow" panose="020B0606020202030204" pitchFamily="34" charset="0"/>
              </a:rPr>
              <a:t> вносит </a:t>
            </a:r>
            <a:r>
              <a:rPr lang="ru-RU" sz="12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изменения </a:t>
            </a:r>
            <a:r>
              <a:rPr lang="ru-RU" sz="1200" b="1" dirty="0">
                <a:solidFill>
                  <a:srgbClr val="0070C0"/>
                </a:solidFill>
                <a:latin typeface="Arial Narrow" panose="020B0606020202030204" pitchFamily="34" charset="0"/>
              </a:rPr>
              <a:t>в раздел 1 </a:t>
            </a:r>
            <a:r>
              <a:rPr lang="ru-RU" sz="12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ВБК</a:t>
            </a:r>
            <a:r>
              <a:rPr lang="ru-RU" sz="12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/2раб.дня</a:t>
            </a:r>
            <a:endParaRPr lang="ru-RU" sz="1200" b="1" dirty="0">
              <a:solidFill>
                <a:srgbClr val="FF0000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Пятиугольник 5"/>
          <p:cNvSpPr/>
          <p:nvPr/>
        </p:nvSpPr>
        <p:spPr bwMode="auto">
          <a:xfrm rot="5400000">
            <a:off x="4439974" y="-2247641"/>
            <a:ext cx="408066" cy="6912767"/>
          </a:xfrm>
          <a:prstGeom prst="homePlat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latin typeface="Arial" charset="0"/>
                <a:ea typeface="ヒラギノ角ゴ Pro W3" pitchFamily="-128" charset="-128"/>
              </a:rPr>
              <a:t>п</a:t>
            </a:r>
            <a:r>
              <a:rPr lang="ru-RU" dirty="0" smtClean="0">
                <a:latin typeface="Arial" charset="0"/>
                <a:ea typeface="ヒラギノ角ゴ Pro W3" pitchFamily="-128" charset="-128"/>
              </a:rPr>
              <a:t>редставляет в УБ</a:t>
            </a:r>
            <a:endParaRPr lang="ru-RU" dirty="0"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26" name="AutoShape 2"/>
          <p:cNvSpPr>
            <a:spLocks noChangeArrowheads="1"/>
          </p:cNvSpPr>
          <p:nvPr/>
        </p:nvSpPr>
        <p:spPr bwMode="auto">
          <a:xfrm>
            <a:off x="4307209" y="1700808"/>
            <a:ext cx="720080" cy="504056"/>
          </a:xfrm>
          <a:prstGeom prst="flowChartProcess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Calibri" pitchFamily="34" charset="0"/>
                <a:cs typeface="Arial" pitchFamily="34" charset="0"/>
              </a:rPr>
              <a:t>ИЛИ</a:t>
            </a:r>
          </a:p>
        </p:txBody>
      </p:sp>
      <p:pic>
        <p:nvPicPr>
          <p:cNvPr id="30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7" t="5839" r="1890" b="-5476"/>
          <a:stretch/>
        </p:blipFill>
        <p:spPr bwMode="auto">
          <a:xfrm>
            <a:off x="8303180" y="4649461"/>
            <a:ext cx="662964" cy="600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TextBox 30"/>
          <p:cNvSpPr txBox="1"/>
          <p:nvPr/>
        </p:nvSpPr>
        <p:spPr>
          <a:xfrm>
            <a:off x="871399" y="6237312"/>
            <a:ext cx="7437933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aseline="30000" dirty="0" smtClean="0"/>
              <a:t>1</a:t>
            </a:r>
            <a:r>
              <a:rPr lang="ru-RU" sz="1400" dirty="0" smtClean="0"/>
              <a:t> 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форме, установленной уполномоченным банком;</a:t>
            </a:r>
          </a:p>
          <a:p>
            <a:r>
              <a:rPr lang="ru-RU" sz="1000" baseline="30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Виды контрактов: 1- экспорт товара, 3 – экспорт услуг (в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.ч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передача резидентом имущества в аренду), 9 – смешанный вид контракта (для постановки на учет по сведениям об ЭК, контракт должен содержать только экспортную составляющую)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AutoShape 3"/>
          <p:cNvSpPr>
            <a:spLocks noChangeArrowheads="1"/>
          </p:cNvSpPr>
          <p:nvPr/>
        </p:nvSpPr>
        <p:spPr bwMode="auto">
          <a:xfrm>
            <a:off x="5996026" y="3469850"/>
            <a:ext cx="2757414" cy="1008111"/>
          </a:xfrm>
          <a:prstGeom prst="flowChartProcess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2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резидент </a:t>
            </a:r>
            <a:r>
              <a:rPr lang="ru-RU" sz="1200" b="1" dirty="0">
                <a:solidFill>
                  <a:srgbClr val="0070C0"/>
                </a:solidFill>
                <a:latin typeface="Arial Narrow" panose="020B0606020202030204" pitchFamily="34" charset="0"/>
              </a:rPr>
              <a:t>представляет в банк УК экспортный контракт или выписку из него в срок не позднее </a:t>
            </a:r>
            <a:r>
              <a:rPr lang="ru-RU" sz="1200" b="1" u="sng" dirty="0">
                <a:solidFill>
                  <a:srgbClr val="FF0000"/>
                </a:solidFill>
                <a:latin typeface="Arial Narrow" panose="020B0606020202030204" pitchFamily="34" charset="0"/>
              </a:rPr>
              <a:t>15 рабочих дней </a:t>
            </a:r>
            <a:r>
              <a:rPr lang="ru-RU" sz="1200" b="1" dirty="0">
                <a:solidFill>
                  <a:srgbClr val="0070C0"/>
                </a:solidFill>
                <a:latin typeface="Arial Narrow" panose="020B0606020202030204" pitchFamily="34" charset="0"/>
              </a:rPr>
              <a:t>после даты постановки на учет</a:t>
            </a:r>
            <a:r>
              <a:rPr lang="ru-RU" sz="1400" b="1" dirty="0">
                <a:solidFill>
                  <a:srgbClr val="0070C0"/>
                </a:solidFill>
                <a:latin typeface="Arial Narrow" panose="020B0606020202030204" pitchFamily="34" charset="0"/>
              </a:rPr>
              <a:t>.</a:t>
            </a:r>
          </a:p>
        </p:txBody>
      </p:sp>
      <p:sp>
        <p:nvSpPr>
          <p:cNvPr id="3" name="Стрелка вниз 2"/>
          <p:cNvSpPr/>
          <p:nvPr/>
        </p:nvSpPr>
        <p:spPr bwMode="auto">
          <a:xfrm>
            <a:off x="7297749" y="3079254"/>
            <a:ext cx="216023" cy="432048"/>
          </a:xfrm>
          <a:prstGeom prst="down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16" name="AutoShape 2"/>
          <p:cNvSpPr>
            <a:spLocks noChangeArrowheads="1"/>
          </p:cNvSpPr>
          <p:nvPr/>
        </p:nvSpPr>
        <p:spPr bwMode="auto">
          <a:xfrm>
            <a:off x="467544" y="3645023"/>
            <a:ext cx="3556585" cy="360040"/>
          </a:xfrm>
          <a:prstGeom prst="flowChartProcess">
            <a:avLst/>
          </a:prstGeom>
          <a:gradFill rotWithShape="1">
            <a:gsLst>
              <a:gs pos="0">
                <a:srgbClr val="EAF1DD"/>
              </a:gs>
              <a:gs pos="100000">
                <a:srgbClr val="EAF1DD">
                  <a:gamma/>
                  <a:tint val="95294"/>
                  <a:invGamma/>
                </a:srgbClr>
              </a:gs>
            </a:gsLst>
            <a:lin ang="540000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РЕЗИДЕНТ - </a:t>
            </a:r>
            <a:r>
              <a:rPr kumimoji="0" lang="ru-RU" altLang="ru-RU" sz="18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rPr>
              <a:t>ИМПОРТЕР</a:t>
            </a:r>
          </a:p>
        </p:txBody>
      </p:sp>
      <p:sp>
        <p:nvSpPr>
          <p:cNvPr id="17" name="Пятиугольник 16"/>
          <p:cNvSpPr/>
          <p:nvPr/>
        </p:nvSpPr>
        <p:spPr bwMode="auto">
          <a:xfrm rot="5400000">
            <a:off x="2037466" y="2447742"/>
            <a:ext cx="416740" cy="3556585"/>
          </a:xfrm>
          <a:prstGeom prst="homePlat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latin typeface="Arial" charset="0"/>
                <a:ea typeface="ヒラギノ角ゴ Pro W3" pitchFamily="-128" charset="-128"/>
              </a:rPr>
              <a:t>п</a:t>
            </a:r>
            <a:r>
              <a:rPr lang="ru-RU" sz="1400" dirty="0" smtClean="0">
                <a:latin typeface="Arial" charset="0"/>
                <a:ea typeface="ヒラギノ角ゴ Pro W3" pitchFamily="-128" charset="-128"/>
              </a:rPr>
              <a:t>редставляет в УБ</a:t>
            </a:r>
            <a:endParaRPr lang="ru-RU" sz="1400" dirty="0"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18" name="AutoShape 3"/>
          <p:cNvSpPr>
            <a:spLocks noChangeArrowheads="1"/>
          </p:cNvSpPr>
          <p:nvPr/>
        </p:nvSpPr>
        <p:spPr bwMode="auto">
          <a:xfrm>
            <a:off x="395536" y="4477961"/>
            <a:ext cx="3767181" cy="1543328"/>
          </a:xfrm>
          <a:prstGeom prst="flowChartProcess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>
                <a:solidFill>
                  <a:srgbClr val="FF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мпортный контракт (кредитный договор</a:t>
            </a:r>
            <a:r>
              <a:rPr lang="ru-RU" altLang="ru-RU" sz="1400" b="1" dirty="0" smtClean="0">
                <a:solidFill>
                  <a:srgbClr val="FF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)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rgbClr val="FF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1400" b="1" dirty="0">
                <a:solidFill>
                  <a:srgbClr val="FF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ли выписку из импортного контракта </a:t>
            </a:r>
            <a:r>
              <a:rPr lang="ru-RU" altLang="ru-RU" sz="1400" b="1" dirty="0" smtClean="0">
                <a:solidFill>
                  <a:srgbClr val="FF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/КД, </a:t>
            </a:r>
            <a:r>
              <a:rPr lang="ru-RU" altLang="ru-RU" sz="12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одержащую информацию, в рамках </a:t>
            </a:r>
            <a:r>
              <a:rPr lang="ru-RU" altLang="ru-RU" sz="12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онтроля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ст.19 </a:t>
            </a:r>
            <a:r>
              <a:rPr lang="ru-RU" altLang="ru-RU" sz="12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173-ФЗ</a:t>
            </a:r>
            <a:r>
              <a:rPr lang="ru-RU" altLang="ru-RU" sz="1200" b="1" dirty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9" name="AutoShape 3"/>
          <p:cNvSpPr>
            <a:spLocks noChangeArrowheads="1"/>
          </p:cNvSpPr>
          <p:nvPr/>
        </p:nvSpPr>
        <p:spPr bwMode="auto">
          <a:xfrm>
            <a:off x="4667249" y="5733257"/>
            <a:ext cx="3762845" cy="720079"/>
          </a:xfrm>
          <a:prstGeom prst="flowChartProcess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2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Банк принимает контракт на учет и присваивает уник№</a:t>
            </a:r>
            <a:r>
              <a:rPr lang="ru-RU" sz="1200" b="1" dirty="0" smtClean="0">
                <a:solidFill>
                  <a:srgbClr val="C00000"/>
                </a:solidFill>
                <a:latin typeface="Arial Narrow" panose="020B0606020202030204" pitchFamily="34" charset="0"/>
              </a:rPr>
              <a:t> </a:t>
            </a:r>
            <a:r>
              <a:rPr lang="ru-RU" sz="12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не позднее следующего рабочего дня + формирует ВБК+ 1 раб день на отправку </a:t>
            </a:r>
            <a:r>
              <a:rPr lang="ru-RU" sz="12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уник№</a:t>
            </a:r>
            <a:r>
              <a:rPr lang="ru-RU" sz="12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 по форме банка</a:t>
            </a:r>
            <a:endParaRPr lang="ru-RU" sz="1400" b="1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5" name="Прямая со стрелкой 4"/>
          <p:cNvCxnSpPr/>
          <p:nvPr/>
        </p:nvCxnSpPr>
        <p:spPr bwMode="auto">
          <a:xfrm>
            <a:off x="5110625" y="3356991"/>
            <a:ext cx="0" cy="237626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8" name="Прямая со стрелкой 7"/>
          <p:cNvCxnSpPr/>
          <p:nvPr/>
        </p:nvCxnSpPr>
        <p:spPr bwMode="auto">
          <a:xfrm>
            <a:off x="4162717" y="2796765"/>
            <a:ext cx="864572" cy="293649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0" name="Прямая со стрелкой 9"/>
          <p:cNvCxnSpPr>
            <a:stCxn id="18" idx="3"/>
          </p:cNvCxnSpPr>
          <p:nvPr/>
        </p:nvCxnSpPr>
        <p:spPr bwMode="auto">
          <a:xfrm>
            <a:off x="4162717" y="5249625"/>
            <a:ext cx="697315" cy="48363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3127011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/>
      <p:bldP spid="3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4165" y="208662"/>
            <a:ext cx="6517146" cy="6731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ru-RU" sz="1600" kern="1200" dirty="0">
                <a:latin typeface="Arial"/>
              </a:rPr>
              <a:t>Сроки постановки на учет контракта </a:t>
            </a:r>
            <a:br>
              <a:rPr lang="ru-RU" sz="1600" kern="1200" dirty="0">
                <a:latin typeface="Arial"/>
              </a:rPr>
            </a:br>
            <a:r>
              <a:rPr lang="ru-RU" sz="1600" kern="1200" dirty="0">
                <a:latin typeface="Arial"/>
              </a:rPr>
              <a:t>(кредитного договора) (Гл. 5 181-И)</a:t>
            </a:r>
          </a:p>
        </p:txBody>
      </p:sp>
      <p:sp>
        <p:nvSpPr>
          <p:cNvPr id="43" name="AutoShape 4"/>
          <p:cNvSpPr>
            <a:spLocks noChangeArrowheads="1"/>
          </p:cNvSpPr>
          <p:nvPr/>
        </p:nvSpPr>
        <p:spPr bwMode="auto">
          <a:xfrm>
            <a:off x="1250112" y="911056"/>
            <a:ext cx="7755921" cy="512894"/>
          </a:xfrm>
          <a:prstGeom prst="flowChartProcess">
            <a:avLst/>
          </a:prstGeom>
          <a:solidFill>
            <a:schemeClr val="accent5">
              <a:lumMod val="60000"/>
              <a:lumOff val="40000"/>
              <a:alpha val="9000"/>
            </a:schemeClr>
          </a:solidFill>
          <a:ln w="9525">
            <a:solidFill>
              <a:srgbClr val="92D050"/>
            </a:solidFill>
            <a:miter lim="800000"/>
            <a:headEnd/>
            <a:tailEnd/>
          </a:ln>
          <a:effectLst>
            <a:outerShdw dist="35921" dir="2700000" algn="ctr" rotWithShape="0">
              <a:schemeClr val="bg1"/>
            </a:outerShdw>
          </a:effec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ru-RU" alt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ри списании иностранной валюты или валюты Российской Федерации</a:t>
            </a:r>
            <a:r>
              <a:rPr lang="ru-RU" altLang="ru-RU" sz="1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в пользу нерезидента со счета резидента, открытого в банке УК</a:t>
            </a:r>
            <a:r>
              <a:rPr lang="ru-RU" altLang="ru-RU" sz="12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ru-RU" alt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е позднее даты представления распоряжения о списании ДС</a:t>
            </a:r>
            <a:endParaRPr lang="ru-RU" altLang="ru-RU" sz="12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Двенадцатиугольник 2"/>
          <p:cNvSpPr/>
          <p:nvPr/>
        </p:nvSpPr>
        <p:spPr bwMode="auto">
          <a:xfrm>
            <a:off x="427113" y="977775"/>
            <a:ext cx="779512" cy="379456"/>
          </a:xfrm>
          <a:prstGeom prst="dodecagon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5.7.1.</a:t>
            </a:r>
          </a:p>
        </p:txBody>
      </p:sp>
      <p:sp>
        <p:nvSpPr>
          <p:cNvPr id="23" name="Двенадцатиугольник 22"/>
          <p:cNvSpPr/>
          <p:nvPr/>
        </p:nvSpPr>
        <p:spPr bwMode="auto">
          <a:xfrm>
            <a:off x="427113" y="1535147"/>
            <a:ext cx="779512" cy="379456"/>
          </a:xfrm>
          <a:prstGeom prst="dodecagon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5.7.2.</a:t>
            </a:r>
          </a:p>
        </p:txBody>
      </p:sp>
      <p:sp>
        <p:nvSpPr>
          <p:cNvPr id="24" name="AutoShape 4"/>
          <p:cNvSpPr>
            <a:spLocks noChangeArrowheads="1"/>
          </p:cNvSpPr>
          <p:nvPr/>
        </p:nvSpPr>
        <p:spPr bwMode="auto">
          <a:xfrm>
            <a:off x="1250112" y="1494296"/>
            <a:ext cx="7767088" cy="512894"/>
          </a:xfrm>
          <a:prstGeom prst="flowChartProcess">
            <a:avLst/>
          </a:prstGeom>
          <a:solidFill>
            <a:schemeClr val="accent5">
              <a:lumMod val="60000"/>
              <a:lumOff val="40000"/>
              <a:alpha val="9000"/>
            </a:schemeClr>
          </a:solidFill>
          <a:ln w="9525">
            <a:solidFill>
              <a:srgbClr val="92D050"/>
            </a:solidFill>
            <a:miter lim="800000"/>
            <a:headEnd/>
            <a:tailEnd/>
          </a:ln>
          <a:effectLst>
            <a:outerShdw dist="35921" dir="2700000" algn="ctr" rotWithShape="0">
              <a:schemeClr val="bg1"/>
            </a:outerShdw>
          </a:effec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ru-RU" alt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ри зачислении иностранной валюты или валюты Российской Федерации </a:t>
            </a:r>
            <a:r>
              <a:rPr lang="ru-RU" alt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т нерезидента на счет резидента, открытый в банке УК</a:t>
            </a:r>
            <a:r>
              <a:rPr lang="ru-RU" altLang="ru-RU" sz="12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ru-RU" alt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е позднее 15 рабочих дней после даты зачисления ДС на счет</a:t>
            </a:r>
            <a:endParaRPr lang="ru-RU" altLang="ru-RU" sz="12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Двенадцатиугольник 24"/>
          <p:cNvSpPr/>
          <p:nvPr/>
        </p:nvSpPr>
        <p:spPr bwMode="auto">
          <a:xfrm>
            <a:off x="415217" y="2235746"/>
            <a:ext cx="779512" cy="379456"/>
          </a:xfrm>
          <a:prstGeom prst="dodecagon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5.7.3.</a:t>
            </a:r>
          </a:p>
        </p:txBody>
      </p:sp>
      <p:sp>
        <p:nvSpPr>
          <p:cNvPr id="26" name="AutoShape 4"/>
          <p:cNvSpPr>
            <a:spLocks noChangeArrowheads="1"/>
          </p:cNvSpPr>
          <p:nvPr/>
        </p:nvSpPr>
        <p:spPr bwMode="auto">
          <a:xfrm>
            <a:off x="1250112" y="2137442"/>
            <a:ext cx="7779545" cy="576064"/>
          </a:xfrm>
          <a:prstGeom prst="flowChartProcess">
            <a:avLst/>
          </a:prstGeom>
          <a:solidFill>
            <a:schemeClr val="accent5">
              <a:lumMod val="60000"/>
              <a:lumOff val="40000"/>
              <a:alpha val="9000"/>
            </a:schemeClr>
          </a:solidFill>
          <a:ln w="9525">
            <a:solidFill>
              <a:srgbClr val="92D050"/>
            </a:solidFill>
            <a:miter lim="800000"/>
            <a:headEnd/>
            <a:tailEnd/>
          </a:ln>
          <a:effectLst>
            <a:outerShdw dist="35921" dir="2700000" algn="ctr" rotWithShape="0">
              <a:schemeClr val="bg1"/>
            </a:outerShdw>
          </a:effec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ru-RU" alt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ри зачислении от нерезидента или при списании в пользу нерезидента иностранной валюты (валюты Российской Федерации) </a:t>
            </a:r>
            <a:r>
              <a:rPr lang="ru-RU" alt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а счет (со счета) резидента, открытый </a:t>
            </a:r>
            <a:r>
              <a:rPr lang="ru-RU" altLang="ru-RU" sz="1200" b="1" u="sng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в банке – нерезиденте  </a:t>
            </a:r>
            <a:r>
              <a:rPr lang="ru-RU" alt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– не позднее 30 рабочих дней после месяца, </a:t>
            </a:r>
            <a:r>
              <a:rPr lang="ru-RU" altLang="ru-RU" sz="1200" dirty="0" smtClean="0">
                <a:latin typeface="Times New Roman" pitchFamily="18" charset="0"/>
                <a:cs typeface="Times New Roman" pitchFamily="18" charset="0"/>
              </a:rPr>
              <a:t>в котором была осуществлена операция</a:t>
            </a:r>
            <a:endParaRPr lang="ru-RU" alt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" name="Двенадцатиугольник 28"/>
          <p:cNvSpPr/>
          <p:nvPr/>
        </p:nvSpPr>
        <p:spPr bwMode="auto">
          <a:xfrm>
            <a:off x="400037" y="3646507"/>
            <a:ext cx="779512" cy="379456"/>
          </a:xfrm>
          <a:prstGeom prst="dodecagon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5.7.5.</a:t>
            </a:r>
          </a:p>
        </p:txBody>
      </p:sp>
      <p:sp>
        <p:nvSpPr>
          <p:cNvPr id="30" name="Двенадцатиугольник 29"/>
          <p:cNvSpPr/>
          <p:nvPr/>
        </p:nvSpPr>
        <p:spPr bwMode="auto">
          <a:xfrm>
            <a:off x="400037" y="4358608"/>
            <a:ext cx="779512" cy="379456"/>
          </a:xfrm>
          <a:prstGeom prst="dodecagon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5.7.6.</a:t>
            </a:r>
          </a:p>
        </p:txBody>
      </p:sp>
      <p:sp>
        <p:nvSpPr>
          <p:cNvPr id="31" name="Двенадцатиугольник 30"/>
          <p:cNvSpPr/>
          <p:nvPr/>
        </p:nvSpPr>
        <p:spPr bwMode="auto">
          <a:xfrm>
            <a:off x="400498" y="4895456"/>
            <a:ext cx="779512" cy="379456"/>
          </a:xfrm>
          <a:prstGeom prst="dodecagon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5.7.7.</a:t>
            </a:r>
          </a:p>
        </p:txBody>
      </p:sp>
      <p:sp>
        <p:nvSpPr>
          <p:cNvPr id="32" name="AutoShape 4"/>
          <p:cNvSpPr>
            <a:spLocks noChangeArrowheads="1"/>
          </p:cNvSpPr>
          <p:nvPr/>
        </p:nvSpPr>
        <p:spPr bwMode="auto">
          <a:xfrm>
            <a:off x="1259510" y="3646507"/>
            <a:ext cx="7802018" cy="477760"/>
          </a:xfrm>
          <a:prstGeom prst="flowChartProcess">
            <a:avLst/>
          </a:prstGeom>
          <a:solidFill>
            <a:schemeClr val="accent5">
              <a:lumMod val="60000"/>
              <a:lumOff val="40000"/>
              <a:alpha val="9000"/>
            </a:schemeClr>
          </a:solidFill>
          <a:ln w="9525">
            <a:solidFill>
              <a:srgbClr val="92D050"/>
            </a:solidFill>
            <a:miter lim="800000"/>
            <a:headEnd/>
            <a:tailEnd/>
          </a:ln>
          <a:effectLst>
            <a:outerShdw dist="35921" dir="2700000" algn="ctr" rotWithShape="0">
              <a:schemeClr val="bg1"/>
            </a:outerShdw>
          </a:effec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ru-RU" alt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ри исполнении обязательств посредством вывоза с территории РФ </a:t>
            </a:r>
            <a:r>
              <a:rPr lang="ru-RU" altLang="ru-RU" sz="1200" b="1" u="sng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(ввоза на территорию РФ</a:t>
            </a:r>
            <a:r>
              <a:rPr lang="ru-RU" alt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) </a:t>
            </a:r>
            <a:r>
              <a:rPr lang="ru-RU" alt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и при наличии требования о таможенном декларировании </a:t>
            </a:r>
            <a:r>
              <a:rPr lang="ru-RU" altLang="ru-RU" sz="12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alt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е позднее даты подачи ДТ</a:t>
            </a:r>
            <a:endParaRPr lang="ru-RU" altLang="ru-RU" sz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Двенадцатиугольник 32"/>
          <p:cNvSpPr/>
          <p:nvPr/>
        </p:nvSpPr>
        <p:spPr bwMode="auto">
          <a:xfrm>
            <a:off x="388602" y="5405598"/>
            <a:ext cx="779512" cy="379456"/>
          </a:xfrm>
          <a:prstGeom prst="dodecagon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5.7.8.</a:t>
            </a:r>
          </a:p>
        </p:txBody>
      </p:sp>
      <p:sp>
        <p:nvSpPr>
          <p:cNvPr id="34" name="AutoShape 4"/>
          <p:cNvSpPr>
            <a:spLocks noChangeArrowheads="1"/>
          </p:cNvSpPr>
          <p:nvPr/>
        </p:nvSpPr>
        <p:spPr bwMode="auto">
          <a:xfrm>
            <a:off x="1237161" y="4260304"/>
            <a:ext cx="7812932" cy="477760"/>
          </a:xfrm>
          <a:prstGeom prst="flowChartProcess">
            <a:avLst/>
          </a:prstGeom>
          <a:solidFill>
            <a:schemeClr val="accent5">
              <a:lumMod val="60000"/>
              <a:lumOff val="40000"/>
              <a:alpha val="9000"/>
            </a:schemeClr>
          </a:solidFill>
          <a:ln w="9525">
            <a:solidFill>
              <a:srgbClr val="92D050"/>
            </a:solidFill>
            <a:miter lim="800000"/>
            <a:headEnd/>
            <a:tailEnd/>
          </a:ln>
          <a:effectLst>
            <a:outerShdw dist="35921" dir="2700000" algn="ctr" rotWithShape="0">
              <a:schemeClr val="bg1"/>
            </a:outerShdw>
          </a:effec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ru-RU" alt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ри исполнении обязательств посредством вывоза с территории РФ (</a:t>
            </a:r>
            <a:r>
              <a:rPr lang="ru-RU" altLang="ru-RU" sz="1200" b="1" u="sng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ввоза на территорию РФ</a:t>
            </a:r>
            <a:r>
              <a:rPr lang="ru-RU" alt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) </a:t>
            </a:r>
            <a:r>
              <a:rPr lang="ru-RU" alt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и при отсутствии требования о таможенном декларировании </a:t>
            </a:r>
            <a:r>
              <a:rPr lang="ru-RU" altLang="ru-RU" sz="12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alt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е позднее срока представления СПД</a:t>
            </a:r>
            <a:endParaRPr lang="ru-RU" altLang="ru-RU" sz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AutoShape 4"/>
          <p:cNvSpPr>
            <a:spLocks noChangeArrowheads="1"/>
          </p:cNvSpPr>
          <p:nvPr/>
        </p:nvSpPr>
        <p:spPr bwMode="auto">
          <a:xfrm>
            <a:off x="1237162" y="4846304"/>
            <a:ext cx="7802018" cy="477760"/>
          </a:xfrm>
          <a:prstGeom prst="flowChartProcess">
            <a:avLst/>
          </a:prstGeom>
          <a:solidFill>
            <a:schemeClr val="accent5">
              <a:lumMod val="60000"/>
              <a:lumOff val="40000"/>
              <a:alpha val="9000"/>
            </a:schemeClr>
          </a:solidFill>
          <a:ln w="9525">
            <a:solidFill>
              <a:srgbClr val="92D050"/>
            </a:solidFill>
            <a:miter lim="800000"/>
            <a:headEnd/>
            <a:tailEnd/>
          </a:ln>
          <a:effectLst>
            <a:outerShdw dist="35921" dir="2700000" algn="ctr" rotWithShape="0">
              <a:schemeClr val="bg1"/>
            </a:outerShdw>
          </a:effec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ru-RU" alt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ри исполнении обязательств посредством выполнения работ, оказания услуг, передачи информации и РИД, </a:t>
            </a:r>
            <a:r>
              <a:rPr lang="ru-RU" alt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в том числе исключительных прав на них </a:t>
            </a:r>
            <a:r>
              <a:rPr lang="ru-RU" altLang="ru-RU" sz="12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alt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е позднее срока представления СПД </a:t>
            </a:r>
            <a:endParaRPr lang="ru-RU" altLang="ru-RU" sz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AutoShape 4"/>
          <p:cNvSpPr>
            <a:spLocks noChangeArrowheads="1"/>
          </p:cNvSpPr>
          <p:nvPr/>
        </p:nvSpPr>
        <p:spPr bwMode="auto">
          <a:xfrm>
            <a:off x="1229564" y="5405598"/>
            <a:ext cx="7779545" cy="626012"/>
          </a:xfrm>
          <a:prstGeom prst="flowChartProcess">
            <a:avLst/>
          </a:prstGeom>
          <a:solidFill>
            <a:schemeClr val="accent5">
              <a:lumMod val="60000"/>
              <a:lumOff val="40000"/>
              <a:alpha val="9000"/>
            </a:schemeClr>
          </a:solidFill>
          <a:ln w="9525">
            <a:solidFill>
              <a:srgbClr val="92D050"/>
            </a:solidFill>
            <a:miter lim="800000"/>
            <a:headEnd/>
            <a:tailEnd/>
          </a:ln>
          <a:effectLst>
            <a:outerShdw dist="35921" dir="2700000" algn="ctr" rotWithShape="0">
              <a:schemeClr val="bg1"/>
            </a:outerShdw>
          </a:effec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ru-RU" alt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ри исполнении обязательств способом, отличных от указанных в п. п. 5.7.1-5.7.7</a:t>
            </a:r>
            <a:r>
              <a:rPr lang="ru-RU" altLang="ru-RU" sz="12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– не позднее срока представления СПД, </a:t>
            </a:r>
            <a:r>
              <a:rPr lang="ru-RU" altLang="ru-RU" sz="1200" dirty="0" smtClean="0">
                <a:latin typeface="Times New Roman" pitchFamily="18" charset="0"/>
                <a:cs typeface="Times New Roman" pitchFamily="18" charset="0"/>
              </a:rPr>
              <a:t>либо в иные сроки, установленные Инструкцией в отношении представления соответствующей информации</a:t>
            </a:r>
            <a:endParaRPr lang="ru-RU" alt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Двенадцатиугольник 37"/>
          <p:cNvSpPr/>
          <p:nvPr/>
        </p:nvSpPr>
        <p:spPr bwMode="auto">
          <a:xfrm>
            <a:off x="409834" y="2986827"/>
            <a:ext cx="779512" cy="379456"/>
          </a:xfrm>
          <a:prstGeom prst="dodecagon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5.7.4.</a:t>
            </a:r>
          </a:p>
        </p:txBody>
      </p:sp>
      <p:sp>
        <p:nvSpPr>
          <p:cNvPr id="39" name="AutoShape 4"/>
          <p:cNvSpPr>
            <a:spLocks noChangeArrowheads="1"/>
          </p:cNvSpPr>
          <p:nvPr/>
        </p:nvSpPr>
        <p:spPr bwMode="auto">
          <a:xfrm>
            <a:off x="1237162" y="2821297"/>
            <a:ext cx="7781058" cy="666915"/>
          </a:xfrm>
          <a:prstGeom prst="flowChartProcess">
            <a:avLst/>
          </a:prstGeom>
          <a:solidFill>
            <a:schemeClr val="accent5">
              <a:lumMod val="60000"/>
              <a:lumOff val="40000"/>
              <a:alpha val="9000"/>
            </a:schemeClr>
          </a:solidFill>
          <a:ln w="9525">
            <a:solidFill>
              <a:srgbClr val="92D050"/>
            </a:solidFill>
            <a:miter lim="800000"/>
            <a:headEnd/>
            <a:tailEnd/>
          </a:ln>
          <a:effectLst>
            <a:outerShdw dist="35921" dir="2700000" algn="ctr" rotWithShape="0">
              <a:schemeClr val="bg1"/>
            </a:outerShdw>
          </a:effec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ru-RU" alt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Если сумма обязательств контрактом не определена (КОНТРАКТ БС): </a:t>
            </a:r>
          </a:p>
          <a:p>
            <a:pPr algn="just"/>
            <a:r>
              <a:rPr lang="ru-RU" alt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ЭКСПОРТ </a:t>
            </a:r>
            <a:r>
              <a:rPr lang="ru-RU" altLang="ru-RU" sz="1200" b="1" dirty="0" smtClean="0"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ru-RU" alt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1200" dirty="0" smtClean="0">
                <a:latin typeface="Times New Roman" pitchFamily="18" charset="0"/>
                <a:cs typeface="Times New Roman" pitchFamily="18" charset="0"/>
              </a:rPr>
              <a:t>до </a:t>
            </a:r>
            <a:r>
              <a:rPr lang="ru-RU" altLang="ru-RU" sz="1200" dirty="0">
                <a:latin typeface="Times New Roman" pitchFamily="18" charset="0"/>
                <a:cs typeface="Times New Roman" pitchFamily="18" charset="0"/>
              </a:rPr>
              <a:t>срока представления д-</a:t>
            </a:r>
            <a:r>
              <a:rPr lang="ru-RU" altLang="ru-RU" sz="1200" dirty="0" err="1">
                <a:latin typeface="Times New Roman" pitchFamily="18" charset="0"/>
                <a:cs typeface="Times New Roman" pitchFamily="18" charset="0"/>
              </a:rPr>
              <a:t>тов</a:t>
            </a:r>
            <a:r>
              <a:rPr lang="ru-RU" altLang="ru-RU" sz="1200" dirty="0">
                <a:latin typeface="Times New Roman" pitchFamily="18" charset="0"/>
                <a:cs typeface="Times New Roman" pitchFamily="18" charset="0"/>
              </a:rPr>
              <a:t> по операции, </a:t>
            </a:r>
            <a:r>
              <a:rPr lang="ru-RU" altLang="ru-RU" sz="1200" dirty="0" smtClean="0">
                <a:latin typeface="Times New Roman" pitchFamily="18" charset="0"/>
                <a:cs typeface="Times New Roman" pitchFamily="18" charset="0"/>
              </a:rPr>
              <a:t>превышающей </a:t>
            </a:r>
            <a:r>
              <a:rPr lang="ru-RU" altLang="ru-RU" sz="1200" dirty="0">
                <a:latin typeface="Times New Roman" pitchFamily="18" charset="0"/>
                <a:cs typeface="Times New Roman" pitchFamily="18" charset="0"/>
              </a:rPr>
              <a:t>эквивалент </a:t>
            </a:r>
            <a:r>
              <a:rPr lang="ru-RU" alt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6 млн руб.,</a:t>
            </a:r>
            <a:r>
              <a:rPr lang="ru-RU" altLang="ru-RU" sz="1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/>
            <a:r>
              <a:rPr lang="ru-RU" alt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ИМПОРТ </a:t>
            </a:r>
            <a:r>
              <a:rPr lang="ru-RU" altLang="ru-RU" sz="1200" b="1" dirty="0"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ru-RU" alt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1200" dirty="0">
                <a:latin typeface="Times New Roman" pitchFamily="18" charset="0"/>
                <a:cs typeface="Times New Roman" pitchFamily="18" charset="0"/>
              </a:rPr>
              <a:t>до срока представления операции, превышающей эквивалент </a:t>
            </a:r>
            <a:r>
              <a:rPr lang="ru-RU" alt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3 млн руб</a:t>
            </a:r>
            <a:r>
              <a:rPr lang="ru-RU" altLang="ru-RU" sz="12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algn="just"/>
            <a:endParaRPr lang="ru-RU" altLang="ru-RU" sz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altLang="ru-RU" sz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Двенадцатиугольник 19"/>
          <p:cNvSpPr/>
          <p:nvPr/>
        </p:nvSpPr>
        <p:spPr bwMode="auto">
          <a:xfrm>
            <a:off x="7956376" y="1167503"/>
            <a:ext cx="1049657" cy="342128"/>
          </a:xfrm>
          <a:prstGeom prst="dodecagon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платеж</a:t>
            </a:r>
          </a:p>
        </p:txBody>
      </p:sp>
      <p:sp>
        <p:nvSpPr>
          <p:cNvPr id="22" name="Двенадцатиугольник 21"/>
          <p:cNvSpPr/>
          <p:nvPr/>
        </p:nvSpPr>
        <p:spPr bwMode="auto">
          <a:xfrm>
            <a:off x="7452320" y="1703890"/>
            <a:ext cx="1581291" cy="311247"/>
          </a:xfrm>
          <a:prstGeom prst="dodecagon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b="1" dirty="0" smtClean="0">
                <a:solidFill>
                  <a:schemeClr val="tx1"/>
                </a:solidFill>
                <a:latin typeface="Arial" charset="0"/>
                <a:ea typeface="ヒラギノ角ゴ Pro W3" pitchFamily="-128" charset="-128"/>
              </a:rPr>
              <a:t>зачисление</a:t>
            </a: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27" name="AutoShape 4"/>
          <p:cNvSpPr>
            <a:spLocks noChangeArrowheads="1"/>
          </p:cNvSpPr>
          <p:nvPr/>
        </p:nvSpPr>
        <p:spPr bwMode="auto">
          <a:xfrm>
            <a:off x="1238675" y="6098060"/>
            <a:ext cx="7779545" cy="313006"/>
          </a:xfrm>
          <a:prstGeom prst="flowChartProcess">
            <a:avLst/>
          </a:prstGeom>
          <a:solidFill>
            <a:schemeClr val="accent5">
              <a:lumMod val="60000"/>
              <a:lumOff val="40000"/>
              <a:alpha val="9000"/>
            </a:schemeClr>
          </a:solidFill>
          <a:ln w="9525">
            <a:solidFill>
              <a:srgbClr val="92D050"/>
            </a:solidFill>
            <a:miter lim="800000"/>
            <a:headEnd/>
            <a:tailEnd/>
          </a:ln>
          <a:effectLst>
            <a:outerShdw dist="35921" dir="2700000" algn="ctr" rotWithShape="0">
              <a:schemeClr val="bg1"/>
            </a:outerShdw>
          </a:effec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ru-RU" altLang="ru-RU" sz="1400" b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Каждому контракту присваивается только ОДИН уникальный номер!</a:t>
            </a:r>
          </a:p>
        </p:txBody>
      </p:sp>
    </p:spTree>
    <p:extLst>
      <p:ext uri="{BB962C8B-B14F-4D97-AF65-F5344CB8AC3E}">
        <p14:creationId xmlns:p14="http://schemas.microsoft.com/office/powerpoint/2010/main" val="3832305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2398043325"/>
              </p:ext>
            </p:extLst>
          </p:nvPr>
        </p:nvGraphicFramePr>
        <p:xfrm>
          <a:off x="755576" y="1693915"/>
          <a:ext cx="8267066" cy="45821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970112" y="2596262"/>
            <a:ext cx="10983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Пункт 7.4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1187624" y="3933056"/>
            <a:ext cx="10983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Пункт 7.9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037346" y="5249821"/>
            <a:ext cx="10983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Пункт 7.8</a:t>
            </a:r>
            <a:endParaRPr lang="ru-RU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755576" y="116632"/>
            <a:ext cx="7272808" cy="64807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ru-RU" sz="1600" kern="1200" dirty="0">
                <a:latin typeface="Arial"/>
              </a:rPr>
              <a:t>Внесение изменений в контракт (кредитный договор) </a:t>
            </a:r>
            <a:r>
              <a:rPr lang="ru-RU" sz="1600" kern="1200" dirty="0" smtClean="0">
                <a:latin typeface="Arial"/>
              </a:rPr>
              <a:t/>
            </a:r>
            <a:br>
              <a:rPr lang="ru-RU" sz="1600" kern="1200" dirty="0" smtClean="0">
                <a:latin typeface="Arial"/>
              </a:rPr>
            </a:br>
            <a:r>
              <a:rPr lang="ru-RU" sz="1600" kern="1200" dirty="0" smtClean="0">
                <a:latin typeface="Arial"/>
              </a:rPr>
              <a:t>(</a:t>
            </a:r>
            <a:r>
              <a:rPr lang="ru-RU" sz="1600" kern="1200" dirty="0">
                <a:latin typeface="Arial"/>
              </a:rPr>
              <a:t>Гл. 7 181-И</a:t>
            </a:r>
            <a:r>
              <a:rPr lang="ru-RU" sz="1600" kern="1200" dirty="0" smtClean="0">
                <a:latin typeface="Arial"/>
              </a:rPr>
              <a:t>): </a:t>
            </a:r>
            <a:br>
              <a:rPr lang="ru-RU" sz="1600" kern="1200" dirty="0" smtClean="0">
                <a:latin typeface="Arial"/>
              </a:rPr>
            </a:br>
            <a:r>
              <a:rPr lang="ru-RU" sz="1600" kern="1200" dirty="0" smtClean="0">
                <a:solidFill>
                  <a:srgbClr val="FF0000"/>
                </a:solidFill>
                <a:latin typeface="Arial"/>
              </a:rPr>
              <a:t>Заявление + Документы/Информация-основание*</a:t>
            </a:r>
            <a:endParaRPr lang="ru-RU" sz="1600" kern="120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9" name="Объект 2"/>
          <p:cNvSpPr>
            <a:spLocks noGrp="1"/>
          </p:cNvSpPr>
          <p:nvPr>
            <p:ph idx="4294967295"/>
          </p:nvPr>
        </p:nvSpPr>
        <p:spPr>
          <a:xfrm>
            <a:off x="1331640" y="836712"/>
            <a:ext cx="7444766" cy="1368152"/>
          </a:xfrm>
        </p:spPr>
        <p:txBody>
          <a:bodyPr/>
          <a:lstStyle/>
          <a:p>
            <a:pPr marL="0" indent="0" algn="just">
              <a:lnSpc>
                <a:spcPct val="100000"/>
              </a:lnSpc>
              <a:buFontTx/>
              <a:buNone/>
            </a:pPr>
            <a:r>
              <a:rPr lang="ru-RU" altLang="ru-RU" sz="135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 </a:t>
            </a:r>
            <a:r>
              <a:rPr lang="ru-RU" altLang="ru-RU" sz="1350" b="1" dirty="0" smtClean="0">
                <a:solidFill>
                  <a:srgbClr val="FF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Заявлении о внесении изменений</a:t>
            </a:r>
            <a:r>
              <a:rPr lang="ru-RU" altLang="ru-RU" sz="1350" b="1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135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 раздел 1 ВБК должны быть указаны:</a:t>
            </a:r>
          </a:p>
          <a:p>
            <a:pPr marL="0" indent="0" algn="just">
              <a:lnSpc>
                <a:spcPct val="100000"/>
              </a:lnSpc>
              <a:buFontTx/>
              <a:buNone/>
            </a:pPr>
            <a:r>
              <a:rPr lang="ru-RU" altLang="ru-RU" sz="135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*</a:t>
            </a:r>
            <a:r>
              <a:rPr lang="ru-RU" altLang="ru-RU" sz="1350" b="1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Уникальный номер контракта</a:t>
            </a:r>
          </a:p>
          <a:p>
            <a:pPr marL="0" indent="0" algn="just">
              <a:lnSpc>
                <a:spcPct val="100000"/>
              </a:lnSpc>
              <a:buFontTx/>
              <a:buNone/>
            </a:pPr>
            <a:r>
              <a:rPr lang="ru-RU" altLang="ru-RU" sz="1350" b="1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*Содержание изменений</a:t>
            </a:r>
          </a:p>
          <a:p>
            <a:pPr marL="0" indent="0" algn="just">
              <a:lnSpc>
                <a:spcPct val="100000"/>
              </a:lnSpc>
              <a:buFontTx/>
              <a:buNone/>
            </a:pPr>
            <a:r>
              <a:rPr lang="ru-RU" altLang="ru-RU" sz="1350" b="1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*Реквизиты документов–оснований для изменений (№/дата) или Сведения о резиденте (если изменяются только они)</a:t>
            </a:r>
          </a:p>
          <a:p>
            <a:pPr marL="0" indent="0" algn="just">
              <a:buNone/>
            </a:pPr>
            <a:r>
              <a:rPr lang="ru-RU" altLang="ru-RU" sz="13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r>
              <a:rPr lang="ru-RU" altLang="ru-RU" sz="1350" b="1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ата подписания резидентом заявления о внесении изменений в раздел 1 ВБК</a:t>
            </a:r>
            <a:r>
              <a:rPr lang="ru-RU" altLang="ru-RU" sz="1350" b="1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.</a:t>
            </a:r>
          </a:p>
          <a:p>
            <a:pPr marL="0" indent="0" algn="ctr">
              <a:buNone/>
            </a:pPr>
            <a:r>
              <a:rPr lang="ru-RU" altLang="ru-RU" sz="1400" b="1" u="sng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роки подачи заявления</a:t>
            </a:r>
            <a:endParaRPr lang="ru-RU" altLang="ru-RU" sz="1400" b="1" u="sng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 bwMode="auto">
          <a:xfrm>
            <a:off x="467544" y="6381285"/>
            <a:ext cx="8136904" cy="324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 baseline="0">
                <a:solidFill>
                  <a:srgbClr val="00703C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9pPr>
          </a:lstStyle>
          <a:p>
            <a:pPr algn="just"/>
            <a:r>
              <a:rPr lang="ru-RU" alt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 </a:t>
            </a:r>
            <a:r>
              <a:rPr lang="ru-RU" altLang="ru-RU" sz="1200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аточно одного Заявления - при </a:t>
            </a:r>
            <a:r>
              <a:rPr lang="ru-RU" altLang="ru-RU" sz="1200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менении сведений о резиденте, </a:t>
            </a:r>
            <a:r>
              <a:rPr lang="ru-RU" altLang="ru-RU" sz="1200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 также при </a:t>
            </a:r>
            <a:r>
              <a:rPr lang="ru-RU" altLang="ru-RU" sz="1200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личии в </a:t>
            </a:r>
            <a:r>
              <a:rPr lang="ru-RU" altLang="ru-RU" sz="1200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е </a:t>
            </a:r>
            <a:r>
              <a:rPr lang="ru-RU" altLang="ru-RU" sz="1200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ловия о возможности его продления без подписания </a:t>
            </a:r>
            <a:r>
              <a:rPr lang="ru-RU" altLang="ru-RU" sz="1200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полнений, когда К действует </a:t>
            </a:r>
            <a:r>
              <a:rPr lang="ru-RU" altLang="ru-RU" sz="1200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 исполнения сторонами </a:t>
            </a:r>
            <a:r>
              <a:rPr lang="ru-RU" altLang="ru-RU" sz="1200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язательств.</a:t>
            </a:r>
            <a:endParaRPr lang="ru-RU" altLang="ru-RU" sz="1200" i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ru-RU" altLang="ru-RU" sz="105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5710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116632"/>
            <a:ext cx="5905500" cy="673100"/>
          </a:xfrm>
        </p:spPr>
        <p:txBody>
          <a:bodyPr/>
          <a:lstStyle/>
          <a:p>
            <a:r>
              <a:rPr lang="ru-RU" sz="1600" kern="1200" dirty="0">
                <a:latin typeface="Arial"/>
              </a:rPr>
              <a:t>Снятие с учета контракта </a:t>
            </a:r>
            <a:br>
              <a:rPr lang="ru-RU" sz="1600" kern="1200" dirty="0">
                <a:latin typeface="Arial"/>
              </a:rPr>
            </a:br>
            <a:r>
              <a:rPr lang="ru-RU" sz="1600" kern="1200" dirty="0">
                <a:latin typeface="Arial"/>
              </a:rPr>
              <a:t>(кредитного договора) (Гл. 6 181-И)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685837649"/>
              </p:ext>
            </p:extLst>
          </p:nvPr>
        </p:nvGraphicFramePr>
        <p:xfrm>
          <a:off x="713817" y="908720"/>
          <a:ext cx="8229600" cy="4824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72133" y="5805264"/>
            <a:ext cx="856436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rgbClr val="0070C0"/>
                </a:solidFill>
              </a:rPr>
              <a:t>Банк имеет право самостоятельно снять с учета Контракт </a:t>
            </a:r>
            <a:r>
              <a:rPr lang="ru-RU" sz="1400" b="1" u="sng" dirty="0" smtClean="0">
                <a:solidFill>
                  <a:srgbClr val="FF0000"/>
                </a:solidFill>
              </a:rPr>
              <a:t>по истечении 90 календарных дней</a:t>
            </a:r>
            <a:r>
              <a:rPr lang="ru-RU" sz="1400" b="1" dirty="0" smtClean="0">
                <a:solidFill>
                  <a:srgbClr val="0070C0"/>
                </a:solidFill>
              </a:rPr>
              <a:t>, следующих за датой, указанной в графе 6 пункта 3 Раздела 1 ВБК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rgbClr val="0070C0"/>
                </a:solidFill>
              </a:rPr>
              <a:t>При закрытии резидентом </a:t>
            </a:r>
            <a:r>
              <a:rPr lang="ru-RU" sz="1400" b="1" u="sng" dirty="0" smtClean="0">
                <a:solidFill>
                  <a:srgbClr val="FF0000"/>
                </a:solidFill>
              </a:rPr>
              <a:t>всех</a:t>
            </a:r>
            <a:r>
              <a:rPr lang="ru-RU" sz="1400" b="1" dirty="0" smtClean="0">
                <a:solidFill>
                  <a:srgbClr val="0070C0"/>
                </a:solidFill>
              </a:rPr>
              <a:t> счетов в банке УК без снятия с учета К (КД) либо при ликвидации резидента, банк УК вправе снять Контракт в установленный им срок. </a:t>
            </a:r>
            <a:endParaRPr lang="ru-RU" sz="14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1950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188640"/>
            <a:ext cx="5905500" cy="482211"/>
          </a:xfrm>
        </p:spPr>
        <p:txBody>
          <a:bodyPr/>
          <a:lstStyle/>
          <a:p>
            <a:pPr algn="ctr"/>
            <a:r>
              <a:rPr lang="ru-RU" sz="1600" kern="1200" dirty="0" smtClean="0">
                <a:latin typeface="Arial"/>
              </a:rPr>
              <a:t/>
            </a:r>
            <a:br>
              <a:rPr lang="ru-RU" sz="1600" kern="1200" dirty="0" smtClean="0">
                <a:latin typeface="Arial"/>
              </a:rPr>
            </a:br>
            <a:r>
              <a:rPr lang="ru-RU" sz="1600" kern="1200" dirty="0" smtClean="0">
                <a:latin typeface="Arial"/>
              </a:rPr>
              <a:t>Федеральный </a:t>
            </a:r>
            <a:r>
              <a:rPr lang="ru-RU" sz="1600" kern="1200" dirty="0">
                <a:latin typeface="Arial"/>
              </a:rPr>
              <a:t>закон № 325-ФЗ от 14.11.2017</a:t>
            </a:r>
            <a:br>
              <a:rPr lang="ru-RU" sz="1600" kern="1200" dirty="0">
                <a:latin typeface="Arial"/>
              </a:rPr>
            </a:br>
            <a:r>
              <a:rPr lang="ru-RU" sz="1600" kern="1200" dirty="0">
                <a:latin typeface="Arial"/>
              </a:rPr>
              <a:t> </a:t>
            </a:r>
            <a:r>
              <a:rPr lang="ru-RU" sz="1600" kern="1200" dirty="0" smtClean="0">
                <a:latin typeface="Arial"/>
              </a:rPr>
              <a:t>(</a:t>
            </a:r>
            <a:r>
              <a:rPr lang="ru-RU" sz="1600" kern="1200" dirty="0">
                <a:latin typeface="Arial"/>
              </a:rPr>
              <a:t>вступает в силу с 14.05.2018 года)</a:t>
            </a: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107504" y="35889"/>
            <a:ext cx="8568952" cy="5432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ru-RU" sz="2600" b="0" kern="1200" smtClean="0">
                <a:solidFill>
                  <a:srgbClr val="53627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sz="2000" b="1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зменения в валютном законодательстве</a:t>
            </a:r>
            <a:endParaRPr lang="ru-RU" sz="20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52760" y="1892820"/>
            <a:ext cx="8883625" cy="648072"/>
          </a:xfrm>
          <a:prstGeom prst="flowChartProcess">
            <a:avLst/>
          </a:prstGeom>
          <a:solidFill>
            <a:srgbClr val="2DB58B"/>
          </a:solidFill>
          <a:ln w="9525">
            <a:gradFill>
              <a:gsLst>
                <a:gs pos="0">
                  <a:srgbClr val="26867F"/>
                </a:gs>
                <a:gs pos="100000">
                  <a:srgbClr val="48D317"/>
                </a:gs>
              </a:gsLst>
              <a:lin ang="18900000" scaled="0"/>
            </a:gra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714375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В целях исполнения требования о репатриации иностранной валюты и валюты Российской Федерации во внешнеторговых договорах (контрактах) должны быть указаны сроки исполнения сторонами обязательств.</a:t>
            </a:r>
          </a:p>
        </p:txBody>
      </p:sp>
      <p:sp>
        <p:nvSpPr>
          <p:cNvPr id="8" name="AutoShape 4"/>
          <p:cNvSpPr>
            <a:spLocks noChangeArrowheads="1"/>
          </p:cNvSpPr>
          <p:nvPr/>
        </p:nvSpPr>
        <p:spPr bwMode="auto">
          <a:xfrm>
            <a:off x="200210" y="4282506"/>
            <a:ext cx="4032000" cy="2314845"/>
          </a:xfrm>
          <a:prstGeom prst="flowChartProcess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  <a:scene3d>
            <a:camera prst="orthographicFront"/>
            <a:lightRig rig="balanced" dir="t"/>
          </a:scene3d>
          <a:sp3d extrusionH="76200">
            <a:bevelB w="114300" prst="artDeco"/>
            <a:extrusionClr>
              <a:schemeClr val="accent1">
                <a:lumMod val="60000"/>
                <a:lumOff val="40000"/>
              </a:schemeClr>
            </a:extrusionClr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ru-RU" altLang="ru-RU" sz="1300" b="1" dirty="0"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О сроках получения от нерезидентов на свои счета в уполномоченных банках иностранной валюты и (или) валюты Российской Федерации за </a:t>
            </a:r>
            <a:r>
              <a:rPr lang="ru-RU" altLang="ru-RU" sz="1300" b="1" dirty="0" smtClean="0"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исполнение </a:t>
            </a:r>
            <a:r>
              <a:rPr lang="ru-RU" altLang="ru-RU" sz="1300" b="1" dirty="0"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обязательств по внешнеторговым договорам (контрактам) путем передачи нерезидентам товаров, выполнения для них работ, оказания им услуг, передачи им информации и РИД, в том числе исключительных прав на них, в соответствии с условиями внешнеторговых договоров (контрактов);</a:t>
            </a:r>
          </a:p>
        </p:txBody>
      </p:sp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72065" y="2637060"/>
            <a:ext cx="8867935" cy="576064"/>
          </a:xfrm>
          <a:prstGeom prst="flowChartProcess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  <a:scene3d>
            <a:camera prst="orthographicFront"/>
            <a:lightRig rig="balanced" dir="t"/>
          </a:scene3d>
          <a:sp3d>
            <a:bevelB w="114300" prst="artDeco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altLang="ru-RU" sz="1400" b="1" dirty="0" smtClean="0"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При осуществлении внешнеторговой деятельности резиденты обязаны представлять уполномоченным банкам информацию</a:t>
            </a:r>
            <a:endParaRPr lang="ru-RU" altLang="ru-RU" sz="1400" b="1" dirty="0"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33160" y="1214422"/>
            <a:ext cx="8852138" cy="568935"/>
          </a:xfrm>
          <a:prstGeom prst="flowChartProcess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  <a:scene3d>
            <a:camera prst="orthographicFront"/>
            <a:lightRig rig="balanced" dir="t"/>
          </a:scene3d>
          <a:sp3d>
            <a:bevelB w="114300" prst="artDeco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altLang="ru-RU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altLang="ru-RU" sz="14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. </a:t>
            </a:r>
            <a:r>
              <a:rPr lang="ru-RU" altLang="ru-RU" sz="1400" b="1" dirty="0" smtClean="0"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Изменения части 1.1 статьи 19 Федерального закона от 10.12.2003 № 173-ФЗ «О валютном регулировании и валютном контроле» (далее – Федеральный закон № 173-ФЗ)</a:t>
            </a:r>
            <a:endParaRPr lang="ru-RU" altLang="ru-RU" sz="1400" b="1" dirty="0"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11" name="AutoShape 4"/>
          <p:cNvSpPr>
            <a:spLocks noChangeArrowheads="1"/>
          </p:cNvSpPr>
          <p:nvPr/>
        </p:nvSpPr>
        <p:spPr bwMode="auto">
          <a:xfrm>
            <a:off x="4993294" y="4282505"/>
            <a:ext cx="4032000" cy="2314800"/>
          </a:xfrm>
          <a:prstGeom prst="flowChartProcess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  <a:scene3d>
            <a:camera prst="orthographicFront"/>
            <a:lightRig rig="balanced" dir="t"/>
          </a:scene3d>
          <a:sp3d>
            <a:bevelB w="114300" prst="artDeco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ru-RU" altLang="ru-RU" sz="1300" b="1" dirty="0"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О сроках исполнения  нерезидентами обязательств  по внешнеторговым договорам (контрактам) путем передачи резидентам товаров, выполнения для них работ, оказания им услуг, передачи им информации и РИД, в том числе исключительных прав на них, в счет осуществленных резидентами авансовых платежей и сроках возврата указанных авансовых платежей в соответствии с условиями внешнеторговых договоров (контрактов);</a:t>
            </a:r>
          </a:p>
        </p:txBody>
      </p:sp>
      <p:sp>
        <p:nvSpPr>
          <p:cNvPr id="12" name="AutoShape 4"/>
          <p:cNvSpPr>
            <a:spLocks noChangeArrowheads="1"/>
          </p:cNvSpPr>
          <p:nvPr/>
        </p:nvSpPr>
        <p:spPr bwMode="auto">
          <a:xfrm>
            <a:off x="200210" y="3429000"/>
            <a:ext cx="4032000" cy="684000"/>
          </a:xfrm>
          <a:prstGeom prst="flowChartProcess">
            <a:avLst/>
          </a:prstGeom>
          <a:gradFill>
            <a:gsLst>
              <a:gs pos="0">
                <a:srgbClr val="26A67F"/>
              </a:gs>
              <a:gs pos="100000">
                <a:srgbClr val="34D0A0"/>
              </a:gs>
            </a:gsLst>
            <a:lin ang="18900000" scaled="0"/>
          </a:gradFill>
          <a:ln w="9525">
            <a:gradFill>
              <a:gsLst>
                <a:gs pos="0">
                  <a:srgbClr val="26867F"/>
                </a:gs>
                <a:gs pos="100000">
                  <a:srgbClr val="48D317"/>
                </a:gs>
              </a:gsLst>
              <a:lin ang="18900000" scaled="0"/>
            </a:gra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ЭКСПОРТЕРЫ</a:t>
            </a:r>
          </a:p>
        </p:txBody>
      </p:sp>
      <p:sp>
        <p:nvSpPr>
          <p:cNvPr id="13" name="AutoShape 4"/>
          <p:cNvSpPr>
            <a:spLocks noChangeArrowheads="1"/>
          </p:cNvSpPr>
          <p:nvPr/>
        </p:nvSpPr>
        <p:spPr bwMode="auto">
          <a:xfrm>
            <a:off x="4993294" y="3429000"/>
            <a:ext cx="4032000" cy="684000"/>
          </a:xfrm>
          <a:prstGeom prst="flowChartProcess">
            <a:avLst/>
          </a:prstGeom>
          <a:gradFill>
            <a:gsLst>
              <a:gs pos="0">
                <a:srgbClr val="26A67F"/>
              </a:gs>
              <a:gs pos="100000">
                <a:srgbClr val="34D0A0"/>
              </a:gs>
            </a:gsLst>
            <a:lin ang="18900000" scaled="0"/>
          </a:gradFill>
          <a:ln w="9525">
            <a:gradFill>
              <a:gsLst>
                <a:gs pos="0">
                  <a:srgbClr val="26867F"/>
                </a:gs>
                <a:gs pos="100000">
                  <a:srgbClr val="48D317"/>
                </a:gs>
              </a:gsLst>
              <a:lin ang="18900000" scaled="0"/>
            </a:gra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ИМПОРТЕРЫ</a:t>
            </a:r>
          </a:p>
        </p:txBody>
      </p:sp>
    </p:spTree>
    <p:extLst>
      <p:ext uri="{BB962C8B-B14F-4D97-AF65-F5344CB8AC3E}">
        <p14:creationId xmlns:p14="http://schemas.microsoft.com/office/powerpoint/2010/main" val="4211401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5616" y="1196752"/>
            <a:ext cx="7704856" cy="48185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400" kern="1200" dirty="0" smtClean="0">
                <a:latin typeface="Arial"/>
              </a:rPr>
              <a:t>Центр компетенций по </a:t>
            </a:r>
            <a:br>
              <a:rPr lang="ru-RU" sz="2400" kern="1200" dirty="0" smtClean="0">
                <a:latin typeface="Arial"/>
              </a:rPr>
            </a:br>
            <a:r>
              <a:rPr lang="ru-RU" sz="2400" kern="1200" dirty="0" smtClean="0">
                <a:latin typeface="Arial"/>
              </a:rPr>
              <a:t>Внешнеэкономической деятельности</a:t>
            </a:r>
            <a:br>
              <a:rPr lang="ru-RU" sz="2400" kern="1200" dirty="0" smtClean="0">
                <a:latin typeface="Arial"/>
              </a:rPr>
            </a:br>
            <a:r>
              <a:rPr lang="ru-RU" sz="2400" kern="1200" dirty="0" smtClean="0">
                <a:latin typeface="Arial"/>
              </a:rPr>
              <a:t>8-800-200-94-45 </a:t>
            </a:r>
            <a:endParaRPr lang="ru-RU" sz="2400" kern="1200" dirty="0">
              <a:latin typeface="Arial"/>
            </a:endParaRPr>
          </a:p>
        </p:txBody>
      </p:sp>
      <p:sp>
        <p:nvSpPr>
          <p:cNvPr id="12" name="Объект 2"/>
          <p:cNvSpPr>
            <a:spLocks noGrp="1"/>
          </p:cNvSpPr>
          <p:nvPr>
            <p:ph idx="4294967295"/>
          </p:nvPr>
        </p:nvSpPr>
        <p:spPr>
          <a:xfrm>
            <a:off x="467544" y="2276872"/>
            <a:ext cx="8229600" cy="1080120"/>
          </a:xfrm>
        </p:spPr>
        <p:txBody>
          <a:bodyPr/>
          <a:lstStyle/>
          <a:p>
            <a:pPr marL="0" indent="457200" algn="just">
              <a:buFontTx/>
              <a:buNone/>
            </a:pPr>
            <a:endParaRPr lang="ru-RU" altLang="ru-RU" sz="1600" b="1" kern="1200" dirty="0" smtClean="0">
              <a:latin typeface="Arial"/>
              <a:ea typeface="+mj-ea"/>
              <a:cs typeface="+mj-cs"/>
            </a:endParaRPr>
          </a:p>
          <a:p>
            <a:pPr marL="0" indent="457200" algn="ctr">
              <a:buFontTx/>
              <a:buNone/>
            </a:pPr>
            <a:r>
              <a:rPr lang="ru-RU" altLang="ru-RU" sz="2400" b="1" dirty="0">
                <a:latin typeface="Arial Narrow" panose="020B0606020202030204" pitchFamily="34" charset="0"/>
              </a:rPr>
              <a:t>М</a:t>
            </a:r>
            <a:r>
              <a:rPr lang="ru-RU" altLang="ru-RU" sz="2400" b="1" dirty="0" smtClean="0">
                <a:latin typeface="Arial Narrow" panose="020B0606020202030204" pitchFamily="34" charset="0"/>
              </a:rPr>
              <a:t>енеджер ВЭД</a:t>
            </a:r>
            <a:r>
              <a:rPr lang="ru-RU" altLang="ru-RU" sz="2400" b="1" dirty="0">
                <a:latin typeface="Arial Narrow" panose="020B0606020202030204" pitchFamily="34" charset="0"/>
              </a:rPr>
              <a:t> </a:t>
            </a:r>
            <a:r>
              <a:rPr lang="ru-RU" altLang="ru-RU" sz="2400" b="1" dirty="0" smtClean="0">
                <a:latin typeface="Arial Narrow" panose="020B0606020202030204" pitchFamily="34" charset="0"/>
              </a:rPr>
              <a:t>по Липецкой области </a:t>
            </a:r>
          </a:p>
          <a:p>
            <a:pPr marL="0" indent="457200" algn="ctr">
              <a:buFontTx/>
              <a:buNone/>
            </a:pPr>
            <a:r>
              <a:rPr lang="ru-RU" altLang="ru-RU" sz="2400" b="1" dirty="0" smtClean="0">
                <a:latin typeface="Arial Narrow" panose="020B0606020202030204" pitchFamily="34" charset="0"/>
              </a:rPr>
              <a:t>Ларин </a:t>
            </a:r>
            <a:r>
              <a:rPr lang="ru-RU" altLang="ru-RU" sz="2400" b="1" dirty="0">
                <a:latin typeface="Arial Narrow" panose="020B0606020202030204" pitchFamily="34" charset="0"/>
              </a:rPr>
              <a:t>Олег </a:t>
            </a:r>
            <a:r>
              <a:rPr lang="ru-RU" altLang="ru-RU" sz="2400" b="1" dirty="0" smtClean="0">
                <a:latin typeface="Arial Narrow" panose="020B0606020202030204" pitchFamily="34" charset="0"/>
              </a:rPr>
              <a:t>Алексеевич </a:t>
            </a:r>
          </a:p>
          <a:p>
            <a:pPr marL="0" indent="457200">
              <a:buFontTx/>
              <a:buNone/>
            </a:pPr>
            <a:r>
              <a:rPr lang="ru-RU" altLang="ru-RU" sz="2400" b="1" dirty="0" smtClean="0">
                <a:latin typeface="Arial Narrow" panose="020B0606020202030204" pitchFamily="34" charset="0"/>
              </a:rPr>
              <a:t>тел. 8-800-200-94-45, доб. 11-035, </a:t>
            </a:r>
            <a:r>
              <a:rPr lang="en-US" altLang="ru-RU" sz="2400" b="1" dirty="0" smtClean="0">
                <a:latin typeface="Arial Narrow" panose="020B0606020202030204" pitchFamily="34" charset="0"/>
              </a:rPr>
              <a:t>OALarin@sberbank.ru</a:t>
            </a:r>
            <a:endParaRPr lang="ru-RU" altLang="ru-RU" sz="2400" b="1" dirty="0" smtClean="0">
              <a:latin typeface="Arial Narrow" panose="020B0606020202030204" pitchFamily="34" charset="0"/>
            </a:endParaRPr>
          </a:p>
          <a:p>
            <a:pPr marL="0" indent="457200">
              <a:buFontTx/>
              <a:buNone/>
            </a:pPr>
            <a:r>
              <a:rPr lang="ru-RU" altLang="ru-RU" sz="2400" b="1" dirty="0" smtClean="0">
                <a:latin typeface="Arial Narrow" panose="020B0606020202030204" pitchFamily="34" charset="0"/>
              </a:rPr>
              <a:t> </a:t>
            </a:r>
          </a:p>
          <a:p>
            <a:pPr marL="0" indent="457200" algn="just">
              <a:buNone/>
            </a:pPr>
            <a:r>
              <a:rPr lang="ru-RU" sz="2400" b="1" u="sng" dirty="0" smtClean="0">
                <a:hlinkClick r:id="rId2"/>
              </a:rPr>
              <a:t>http</a:t>
            </a:r>
            <a:r>
              <a:rPr lang="ru-RU" sz="2400" b="1" u="sng" dirty="0">
                <a:hlinkClick r:id="rId2"/>
              </a:rPr>
              <a:t>://www.sberved.ru</a:t>
            </a:r>
            <a:r>
              <a:rPr lang="ru-RU" sz="2400" b="1" dirty="0" smtClean="0"/>
              <a:t>​ - семинары по валютному     законодательству в режиме видеоконференции</a:t>
            </a:r>
            <a:endParaRPr lang="ru-RU" sz="2400" b="1" dirty="0"/>
          </a:p>
          <a:p>
            <a:pPr marL="0" indent="457200" algn="ctr">
              <a:buFontTx/>
              <a:buNone/>
            </a:pPr>
            <a:endParaRPr lang="ru-RU" altLang="ru-RU" sz="2400" b="1" dirty="0" smtClean="0">
              <a:latin typeface="Arial Narrow" panose="020B0606020202030204" pitchFamily="34" charset="0"/>
            </a:endParaRPr>
          </a:p>
          <a:p>
            <a:pPr marL="0" indent="457200" algn="just">
              <a:buFontTx/>
              <a:buNone/>
            </a:pPr>
            <a:endParaRPr lang="ru-RU" altLang="ru-RU" sz="1800" b="1" dirty="0" smtClean="0">
              <a:latin typeface="Arial Narrow" panose="020B0606020202030204" pitchFamily="34" charset="0"/>
            </a:endParaRPr>
          </a:p>
          <a:p>
            <a:pPr marL="0" indent="457200" algn="just">
              <a:buFontTx/>
              <a:buNone/>
            </a:pPr>
            <a:r>
              <a:rPr lang="ru-RU" sz="1600" dirty="0">
                <a:latin typeface="Arial Narrow" panose="020B0606020202030204" pitchFamily="34" charset="0"/>
              </a:rPr>
              <a:t/>
            </a:r>
            <a:br>
              <a:rPr lang="ru-RU" sz="1600" dirty="0">
                <a:latin typeface="Arial Narrow" panose="020B0606020202030204" pitchFamily="34" charset="0"/>
              </a:rPr>
            </a:br>
            <a:r>
              <a:rPr lang="ru-RU" sz="1600" dirty="0" smtClean="0">
                <a:latin typeface="Arial Narrow" panose="020B0606020202030204" pitchFamily="34" charset="0"/>
              </a:rPr>
              <a:t>          </a:t>
            </a:r>
            <a:endParaRPr lang="ru-RU" altLang="ru-RU" sz="1600" b="1" kern="1200" dirty="0">
              <a:latin typeface="Arial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0294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264028"/>
              </p:ext>
            </p:extLst>
          </p:nvPr>
        </p:nvGraphicFramePr>
        <p:xfrm>
          <a:off x="2411760" y="2276871"/>
          <a:ext cx="6336704" cy="44653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4231350"/>
                <a:gridCol w="2105354"/>
              </a:tblGrid>
              <a:tr h="240944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Основные изменения </a:t>
                      </a:r>
                      <a:endParaRPr lang="ru-RU" sz="1100" dirty="0"/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963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Для</a:t>
                      </a:r>
                      <a:r>
                        <a:rPr lang="ru-RU" sz="1100" baseline="0" dirty="0" smtClean="0"/>
                        <a:t> Клиента</a:t>
                      </a:r>
                      <a:endParaRPr lang="ru-RU" sz="11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9639"/>
                    </a:solidFill>
                  </a:tcPr>
                </a:tc>
              </a:tr>
              <a:tr h="129930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Отмена базовых документов валютного контроля: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Паспорта сделки;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Справки о валютных операциях.</a:t>
                      </a:r>
                      <a:endParaRPr lang="en-US" sz="1200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Определение следующих форм учета и отчетности: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Справка о подтверждающих документах;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Ведомость банковского контроля 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Либерализация ВК- снижение нагрузки на резидентов    /</a:t>
                      </a:r>
                    </a:p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уменьшение оснований для нарушения закона, снижение штрафных санкций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51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Сокращение 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 сроков  принятия контракта на обслуживание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-</a:t>
                      </a:r>
                      <a:r>
                        <a:rPr lang="ru-RU" sz="1200" b="1" kern="1200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 с 3-х до 1-го дня</a:t>
                      </a:r>
                      <a:endParaRPr lang="ru-RU" sz="1200" b="1" kern="1200" dirty="0" smtClean="0">
                        <a:solidFill>
                          <a:srgbClr val="FF0000"/>
                        </a:solidFill>
                        <a:latin typeface="Arial Narrow" panose="020B060602020203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Повышение оперативности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65352"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ru-RU" sz="1200" b="1" kern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Для экспортеров –</a:t>
                      </a:r>
                      <a:r>
                        <a:rPr lang="ru-RU" sz="1200" b="1" kern="120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200" b="1" kern="1200" baseline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в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ведение 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у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прощенного порядка постановки контрактов на учет 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ru-RU" sz="12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установление возможности представления распоряжения о распределении денежных средств с транзитного счета ДО представления в Банк документов по валютной операции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Расчеты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 станут быстрее </a:t>
                      </a:r>
                      <a:r>
                        <a:rPr lang="ru-RU" sz="1200" kern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и проще</a:t>
                      </a:r>
                      <a:endParaRPr lang="ru-RU" sz="1200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9527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Новые суммовые критерии</a:t>
                      </a:r>
                      <a:r>
                        <a:rPr lang="ru-RU" sz="1200" baseline="0" dirty="0" smtClean="0"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dirty="0" smtClean="0"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постановки контракта на учет: </a:t>
                      </a:r>
                    </a:p>
                    <a:p>
                      <a:pPr marL="171450" lvl="0" indent="-171450" algn="just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effectLst/>
                          <a:latin typeface="Arial Narrow" panose="020B0606020202030204" pitchFamily="34" charset="0"/>
                          <a:ea typeface="Calibri"/>
                          <a:cs typeface="Times New Roman" panose="02020603050405020304" pitchFamily="18" charset="0"/>
                        </a:rPr>
                        <a:t>для импортных контрактов и кредитных договоров ≥ </a:t>
                      </a:r>
                      <a:r>
                        <a:rPr lang="ru-RU" sz="1200" b="1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 panose="02020603050405020304" pitchFamily="18" charset="0"/>
                        </a:rPr>
                        <a:t>3 млн. руб.;</a:t>
                      </a:r>
                      <a:r>
                        <a:rPr lang="ru-RU" sz="1200" b="1" dirty="0" smtClean="0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effectLst/>
                          <a:latin typeface="Arial Narrow" panose="020B0606020202030204" pitchFamily="34" charset="0"/>
                          <a:ea typeface="Calibri"/>
                          <a:cs typeface="Times New Roman" panose="02020603050405020304" pitchFamily="18" charset="0"/>
                        </a:rPr>
                        <a:t>для экспортных контрактов ≥ </a:t>
                      </a:r>
                      <a:r>
                        <a:rPr lang="ru-RU" sz="1200" b="1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 panose="02020603050405020304" pitchFamily="18" charset="0"/>
                        </a:rPr>
                        <a:t>6 млн. руб.</a:t>
                      </a:r>
                      <a:endParaRPr lang="ru-RU" sz="1200" b="1" dirty="0" smtClean="0">
                        <a:solidFill>
                          <a:srgbClr val="FF0000"/>
                        </a:solidFill>
                        <a:latin typeface="Arial Narrow" panose="020B0606020202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Упрощение работы с Банком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51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Самостоятельное кодирование валютных операций клиента</a:t>
                      </a:r>
                      <a:r>
                        <a:rPr lang="ru-RU" sz="1200" baseline="0" dirty="0" smtClean="0"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dirty="0" smtClean="0"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Банком на основании представленных клиентом документов и информации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Упрощение работы с Банком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51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Исключение </a:t>
                      </a:r>
                      <a:r>
                        <a:rPr lang="ru-RU" sz="1200" baseline="0" dirty="0" smtClean="0"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представления документов по  контрактам </a:t>
                      </a:r>
                      <a:r>
                        <a:rPr lang="ru-RU" sz="1200" b="1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до 200 тыс. рублей</a:t>
                      </a:r>
                      <a:endParaRPr lang="ru-RU" sz="1200" b="1" dirty="0" smtClean="0">
                        <a:solidFill>
                          <a:srgbClr val="FF0000"/>
                        </a:solidFill>
                        <a:latin typeface="Arial Narrow" panose="020B0606020202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Упрощение работы,</a:t>
                      </a:r>
                    </a:p>
                    <a:p>
                      <a:pPr rtl="0"/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Экономия на комиссии за ВК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386666" y="85157"/>
            <a:ext cx="6865934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indent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00703C"/>
                </a:solidFill>
                <a:latin typeface="Arial"/>
                <a:ea typeface="+mj-ea"/>
                <a:cs typeface="+mj-cs"/>
              </a:rPr>
              <a:t>Основные изменения по валютному контролю </a:t>
            </a:r>
          </a:p>
          <a:p>
            <a:pPr marR="0" lvl="0" indent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00703C"/>
                </a:solidFill>
                <a:latin typeface="Arial"/>
                <a:ea typeface="+mj-ea"/>
                <a:cs typeface="+mj-cs"/>
              </a:rPr>
              <a:t>(Инструкции Банка России №181-И от 16.08.2017 г.)</a:t>
            </a:r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864" y="2348880"/>
            <a:ext cx="1877888" cy="4248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921296"/>
            <a:ext cx="1219200" cy="142875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008" y="920130"/>
            <a:ext cx="1219200" cy="142875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Прямоугольник 1"/>
          <p:cNvSpPr/>
          <p:nvPr/>
        </p:nvSpPr>
        <p:spPr>
          <a:xfrm>
            <a:off x="755576" y="1034340"/>
            <a:ext cx="360164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меняется</a:t>
            </a:r>
          </a:p>
          <a:p>
            <a:pPr lvl="0" algn="ctr"/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струкция Банка России от 04.06.2012 г. №138-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644009" y="1034340"/>
            <a:ext cx="38884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ru-RU" b="1" u="sng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1.0</a:t>
            </a:r>
            <a:r>
              <a:rPr lang="en-US" b="1" u="sng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b="1" u="sng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2018 г.</a:t>
            </a:r>
            <a:r>
              <a:rPr lang="ru-RU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тупает </a:t>
            </a:r>
            <a:r>
              <a:rPr lang="ru-RU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илу </a:t>
            </a:r>
          </a:p>
          <a:p>
            <a:pPr lvl="0" algn="ctr"/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струкция Банка России от 16.08.2017 г. №181-И</a:t>
            </a:r>
          </a:p>
        </p:txBody>
      </p:sp>
    </p:spTree>
    <p:extLst>
      <p:ext uri="{BB962C8B-B14F-4D97-AF65-F5344CB8AC3E}">
        <p14:creationId xmlns:p14="http://schemas.microsoft.com/office/powerpoint/2010/main" val="1643801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/>
          <p:cNvSpPr txBox="1"/>
          <p:nvPr/>
        </p:nvSpPr>
        <p:spPr>
          <a:xfrm>
            <a:off x="-271703" y="1428736"/>
            <a:ext cx="42484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49536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формление Паспорта </a:t>
            </a:r>
            <a:r>
              <a:rPr lang="ru-RU" sz="1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делки </a:t>
            </a:r>
            <a:endParaRPr lang="en-US" sz="1200" b="1" dirty="0" smtClean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ru-RU" sz="1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орма учета и отчетности Банка России)</a:t>
            </a:r>
            <a:endParaRPr lang="ru-RU" sz="12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53" name="Прямая соединительная линия 52"/>
          <p:cNvCxnSpPr/>
          <p:nvPr/>
        </p:nvCxnSpPr>
        <p:spPr>
          <a:xfrm>
            <a:off x="300426" y="3032343"/>
            <a:ext cx="8533223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Штриховая стрелка вправо 55"/>
          <p:cNvSpPr/>
          <p:nvPr/>
        </p:nvSpPr>
        <p:spPr>
          <a:xfrm>
            <a:off x="3899833" y="2214554"/>
            <a:ext cx="1104223" cy="440575"/>
          </a:xfrm>
          <a:prstGeom prst="stripedRightArrow">
            <a:avLst/>
          </a:prstGeom>
          <a:gradFill flip="none" rotWithShape="1">
            <a:gsLst>
              <a:gs pos="0">
                <a:srgbClr val="26867F"/>
              </a:gs>
              <a:gs pos="100000">
                <a:srgbClr val="48D317"/>
              </a:gs>
            </a:gsLst>
            <a:lin ang="18900000" scaled="1"/>
            <a:tileRect/>
          </a:gradFill>
          <a:ln>
            <a:solidFill>
              <a:schemeClr val="bg1"/>
            </a:solidFill>
          </a:ln>
        </p:spPr>
        <p:txBody>
          <a:bodyPr spcFirstLastPara="1" vert="horz" wrap="square" lIns="91440" tIns="45720" rIns="91440" bIns="45720" numCol="1" rtlCol="0" anchor="ctr" anchorCtr="0" compatLnSpc="1">
            <a:prstTxWarp prst="textArchDown">
              <a:avLst>
                <a:gd name="adj" fmla="val 21567311"/>
              </a:avLst>
            </a:prstTxWarp>
          </a:bodyPr>
          <a:lstStyle/>
          <a:p>
            <a:pPr algn="ctr">
              <a:lnSpc>
                <a:spcPts val="900"/>
              </a:lnSpc>
            </a:pPr>
            <a:endParaRPr lang="ru-RU" sz="900" dirty="0">
              <a:solidFill>
                <a:srgbClr val="FF0000"/>
              </a:solidFill>
              <a:latin typeface="Segoe UI Light" panose="020B0502040204020203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745244" y="1130842"/>
            <a:ext cx="2376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b="1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TO BE</a:t>
            </a:r>
            <a:endParaRPr lang="ru-RU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-271703" y="3399351"/>
            <a:ext cx="42484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еоформление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С/закрытие ПС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4643438" y="3324525"/>
            <a:ext cx="45873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несение изменений  </a:t>
            </a:r>
            <a:r>
              <a:rPr lang="ru-RU" sz="1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Раздел </a:t>
            </a:r>
            <a:r>
              <a:rPr lang="en-US" sz="1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 </a:t>
            </a:r>
            <a:r>
              <a:rPr lang="ru-RU" sz="1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едомость </a:t>
            </a:r>
            <a:r>
              <a:rPr lang="ru-RU" sz="1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анковского </a:t>
            </a:r>
            <a:r>
              <a:rPr lang="ru-RU" sz="1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нтроля(ВБК</a:t>
            </a:r>
            <a:r>
              <a:rPr lang="ru-RU" sz="1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)/снятие контракта с учета</a:t>
            </a:r>
          </a:p>
        </p:txBody>
      </p:sp>
      <p:cxnSp>
        <p:nvCxnSpPr>
          <p:cNvPr id="92" name="Прямая соединительная линия 91"/>
          <p:cNvCxnSpPr/>
          <p:nvPr/>
        </p:nvCxnSpPr>
        <p:spPr>
          <a:xfrm flipV="1">
            <a:off x="300426" y="5062168"/>
            <a:ext cx="8649111" cy="18982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/>
          <p:cNvSpPr txBox="1"/>
          <p:nvPr/>
        </p:nvSpPr>
        <p:spPr>
          <a:xfrm>
            <a:off x="-599767" y="5157192"/>
            <a:ext cx="52908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равка</a:t>
            </a:r>
            <a:r>
              <a:rPr lang="ru-RU" sz="1200" b="1" dirty="0" smtClean="0">
                <a:solidFill>
                  <a:srgbClr val="FF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 валютных операциях </a:t>
            </a:r>
          </a:p>
          <a:p>
            <a:pPr algn="ctr"/>
            <a:r>
              <a:rPr lang="ru-RU" sz="1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форма учета и отчетности Банка России)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5103837" y="5151472"/>
            <a:ext cx="38606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едставление документов </a:t>
            </a:r>
            <a:r>
              <a:rPr lang="ru-RU" sz="1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1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формации </a:t>
            </a:r>
            <a:r>
              <a:rPr lang="ru-RU" sz="1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 валютной </a:t>
            </a:r>
            <a:r>
              <a:rPr lang="ru-RU" sz="1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перации</a:t>
            </a:r>
            <a:endParaRPr lang="ru-RU" sz="12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7" name="Заголовок 1"/>
          <p:cNvSpPr txBox="1">
            <a:spLocks/>
          </p:cNvSpPr>
          <p:nvPr/>
        </p:nvSpPr>
        <p:spPr>
          <a:xfrm>
            <a:off x="634146" y="107108"/>
            <a:ext cx="5472608" cy="657596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ru-RU" sz="1600" dirty="0">
                <a:solidFill>
                  <a:srgbClr val="00703C"/>
                </a:solidFill>
                <a:latin typeface="Arial"/>
              </a:rPr>
              <a:t>Основные изменения по валютному контролю </a:t>
            </a:r>
          </a:p>
          <a:p>
            <a:pPr>
              <a:lnSpc>
                <a:spcPct val="90000"/>
              </a:lnSpc>
            </a:pPr>
            <a:r>
              <a:rPr lang="ru-RU" sz="1600" dirty="0">
                <a:solidFill>
                  <a:srgbClr val="00703C"/>
                </a:solidFill>
                <a:latin typeface="Arial"/>
              </a:rPr>
              <a:t>(Инструкции Банка России №181-И от 16.08.2017 г.)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627300" y="1132200"/>
            <a:ext cx="2188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S </a:t>
            </a:r>
            <a:r>
              <a:rPr lang="en-US" b="1" dirty="0" smtClean="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S</a:t>
            </a:r>
            <a:endParaRPr lang="ru-RU" sz="1200" b="1" dirty="0">
              <a:solidFill>
                <a:schemeClr val="bg2">
                  <a:lumMod val="50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4786313" y="1500174"/>
            <a:ext cx="45005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становка контракта на </a:t>
            </a:r>
            <a:r>
              <a:rPr lang="ru-RU" sz="1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чет с присвоением Уникального номера контракта/кредитного договора</a:t>
            </a:r>
            <a:endParaRPr lang="ru-RU" sz="12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14" name="Picture 5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5" y="2000240"/>
            <a:ext cx="720000" cy="843942"/>
          </a:xfrm>
          <a:prstGeom prst="rect">
            <a:avLst/>
          </a:prstGeom>
          <a:noFill/>
          <a:ln>
            <a:noFill/>
          </a:ln>
          <a:extLst/>
        </p:spPr>
      </p:pic>
      <p:pic>
        <p:nvPicPr>
          <p:cNvPr id="123" name="Рисунок 122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5699" y="3929066"/>
            <a:ext cx="720000" cy="804974"/>
          </a:xfrm>
          <a:prstGeom prst="rect">
            <a:avLst/>
          </a:prstGeom>
          <a:noFill/>
          <a:ln w="41275">
            <a:solidFill>
              <a:schemeClr val="bg1">
                <a:lumMod val="65000"/>
                <a:alpha val="98000"/>
              </a:schemeClr>
            </a:solidFill>
          </a:ln>
          <a:effectLst>
            <a:glow rad="63500">
              <a:schemeClr val="bg1">
                <a:alpha val="40000"/>
              </a:schemeClr>
            </a:glow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sp>
        <p:nvSpPr>
          <p:cNvPr id="124" name="Штриховая стрелка вправо 123"/>
          <p:cNvSpPr/>
          <p:nvPr/>
        </p:nvSpPr>
        <p:spPr>
          <a:xfrm>
            <a:off x="3899833" y="5944013"/>
            <a:ext cx="1104223" cy="440575"/>
          </a:xfrm>
          <a:prstGeom prst="stripedRightArrow">
            <a:avLst/>
          </a:prstGeom>
          <a:gradFill flip="none" rotWithShape="1">
            <a:gsLst>
              <a:gs pos="0">
                <a:srgbClr val="26867F"/>
              </a:gs>
              <a:gs pos="100000">
                <a:srgbClr val="48D317"/>
              </a:gs>
            </a:gsLst>
            <a:lin ang="18900000" scaled="1"/>
            <a:tileRect/>
          </a:gradFill>
          <a:ln>
            <a:solidFill>
              <a:schemeClr val="bg1"/>
            </a:solidFill>
          </a:ln>
        </p:spPr>
        <p:txBody>
          <a:bodyPr spcFirstLastPara="1" vert="horz" wrap="square" lIns="91440" tIns="45720" rIns="91440" bIns="45720" numCol="1" rtlCol="0" anchor="ctr" anchorCtr="0" compatLnSpc="1">
            <a:prstTxWarp prst="textArchDown">
              <a:avLst>
                <a:gd name="adj" fmla="val 21567311"/>
              </a:avLst>
            </a:prstTxWarp>
          </a:bodyPr>
          <a:lstStyle/>
          <a:p>
            <a:pPr algn="ctr">
              <a:lnSpc>
                <a:spcPts val="900"/>
              </a:lnSpc>
            </a:pPr>
            <a:endParaRPr lang="ru-RU" sz="900" dirty="0">
              <a:latin typeface="Segoe UI Light" panose="020B0502040204020203" pitchFamily="34" charset="0"/>
            </a:endParaRPr>
          </a:p>
        </p:txBody>
      </p:sp>
      <p:sp>
        <p:nvSpPr>
          <p:cNvPr id="125" name="Штриховая стрелка вправо 124"/>
          <p:cNvSpPr/>
          <p:nvPr/>
        </p:nvSpPr>
        <p:spPr>
          <a:xfrm>
            <a:off x="3899832" y="4248133"/>
            <a:ext cx="1104223" cy="440575"/>
          </a:xfrm>
          <a:prstGeom prst="stripedRightArrow">
            <a:avLst/>
          </a:prstGeom>
          <a:gradFill flip="none" rotWithShape="1">
            <a:gsLst>
              <a:gs pos="0">
                <a:srgbClr val="26867F"/>
              </a:gs>
              <a:gs pos="100000">
                <a:srgbClr val="48D317"/>
              </a:gs>
            </a:gsLst>
            <a:lin ang="18900000" scaled="1"/>
            <a:tileRect/>
          </a:gradFill>
          <a:ln>
            <a:solidFill>
              <a:schemeClr val="bg1"/>
            </a:solidFill>
          </a:ln>
        </p:spPr>
        <p:txBody>
          <a:bodyPr spcFirstLastPara="1" vert="horz" wrap="square" lIns="91440" tIns="45720" rIns="91440" bIns="45720" numCol="1" rtlCol="0" anchor="ctr" anchorCtr="0" compatLnSpc="1">
            <a:prstTxWarp prst="textArchDown">
              <a:avLst>
                <a:gd name="adj" fmla="val 21567311"/>
              </a:avLst>
            </a:prstTxWarp>
          </a:bodyPr>
          <a:lstStyle/>
          <a:p>
            <a:pPr algn="ctr">
              <a:lnSpc>
                <a:spcPts val="900"/>
              </a:lnSpc>
            </a:pPr>
            <a:endParaRPr lang="ru-RU" sz="900" dirty="0">
              <a:latin typeface="Segoe UI Light" panose="020B0502040204020203" pitchFamily="34" charset="0"/>
            </a:endParaRPr>
          </a:p>
        </p:txBody>
      </p:sp>
      <p:pic>
        <p:nvPicPr>
          <p:cNvPr id="6151" name="Picture 7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63" t="14232" r="17406" b="15223"/>
          <a:stretch/>
        </p:blipFill>
        <p:spPr bwMode="auto">
          <a:xfrm>
            <a:off x="1032635" y="5858300"/>
            <a:ext cx="1289923" cy="5284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4" name="Рисунок 13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8191" y="5768590"/>
            <a:ext cx="736168" cy="618157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4164" y="5745298"/>
            <a:ext cx="720000" cy="838006"/>
          </a:xfrm>
          <a:prstGeom prst="rect">
            <a:avLst/>
          </a:prstGeom>
          <a:noFill/>
          <a:ln w="41275">
            <a:solidFill>
              <a:schemeClr val="bg1">
                <a:lumMod val="65000"/>
                <a:alpha val="98000"/>
              </a:schemeClr>
            </a:solidFill>
          </a:ln>
          <a:effectLst>
            <a:glow rad="63500">
              <a:schemeClr val="bg1">
                <a:alpha val="40000"/>
              </a:schemeClr>
            </a:glow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30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51" t="18949" r="33882" b="23433"/>
          <a:stretch/>
        </p:blipFill>
        <p:spPr bwMode="auto">
          <a:xfrm>
            <a:off x="1325681" y="2064537"/>
            <a:ext cx="720000" cy="79295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6869" y="2250356"/>
            <a:ext cx="698812" cy="586789"/>
          </a:xfrm>
          <a:prstGeom prst="rect">
            <a:avLst/>
          </a:prstGeom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51" t="18949" r="33882" b="23433"/>
          <a:stretch/>
        </p:blipFill>
        <p:spPr bwMode="auto">
          <a:xfrm>
            <a:off x="1309513" y="3857628"/>
            <a:ext cx="720000" cy="79295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9462" y="3966720"/>
            <a:ext cx="698812" cy="586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079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11560" y="116632"/>
            <a:ext cx="7772400" cy="630957"/>
          </a:xfrm>
        </p:spPr>
        <p:txBody>
          <a:bodyPr/>
          <a:lstStyle/>
          <a:p>
            <a:r>
              <a:rPr lang="ru-RU" sz="1600" kern="1200" dirty="0">
                <a:latin typeface="Arial"/>
              </a:rPr>
              <a:t>Документооборот между Банком и Резидентом</a:t>
            </a:r>
          </a:p>
        </p:txBody>
      </p:sp>
      <p:sp>
        <p:nvSpPr>
          <p:cNvPr id="4" name="Подзаголовок 2"/>
          <p:cNvSpPr txBox="1">
            <a:spLocks/>
          </p:cNvSpPr>
          <p:nvPr/>
        </p:nvSpPr>
        <p:spPr bwMode="auto">
          <a:xfrm>
            <a:off x="1754367" y="908720"/>
            <a:ext cx="7056784" cy="1066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None/>
              <a:defRPr sz="2800" baseline="0">
                <a:solidFill>
                  <a:srgbClr val="00703C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indent="0" algn="ctr" rtl="0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rgbClr val="00703C"/>
                </a:solidFill>
                <a:latin typeface="+mn-lt"/>
                <a:ea typeface="+mn-ea"/>
              </a:defRPr>
            </a:lvl2pPr>
            <a:lvl3pPr marL="914400" indent="0" algn="ctr" rtl="0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rgbClr val="00703C"/>
                </a:solidFill>
                <a:latin typeface="+mn-lt"/>
                <a:ea typeface="+mn-ea"/>
              </a:defRPr>
            </a:lvl3pPr>
            <a:lvl4pPr marL="1371600" indent="0" algn="ctr" rtl="0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rgbClr val="404040"/>
                </a:solidFill>
                <a:latin typeface="+mn-lt"/>
                <a:ea typeface="+mn-ea"/>
              </a:defRPr>
            </a:lvl4pPr>
            <a:lvl5pPr marL="1828800" indent="0" algn="ctr" rtl="0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rgbClr val="404040"/>
                </a:solidFill>
                <a:latin typeface="+mn-lt"/>
                <a:ea typeface="+mn-ea"/>
              </a:defRPr>
            </a:lvl5pPr>
            <a:lvl6pPr marL="2286000" indent="0" algn="ctr" rtl="0" fontAlgn="base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rgbClr val="404040"/>
                </a:solidFill>
                <a:latin typeface="+mn-lt"/>
                <a:ea typeface="+mn-ea"/>
              </a:defRPr>
            </a:lvl6pPr>
            <a:lvl7pPr marL="2743200" indent="0" algn="ctr" rtl="0" fontAlgn="base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rgbClr val="404040"/>
                </a:solidFill>
                <a:latin typeface="+mn-lt"/>
                <a:ea typeface="+mn-ea"/>
              </a:defRPr>
            </a:lvl7pPr>
            <a:lvl8pPr marL="3200400" indent="0" algn="ctr" rtl="0" fontAlgn="base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rgbClr val="404040"/>
                </a:solidFill>
                <a:latin typeface="+mn-lt"/>
                <a:ea typeface="+mn-ea"/>
              </a:defRPr>
            </a:lvl8pPr>
            <a:lvl9pPr marL="3657600" indent="0" algn="ctr" rtl="0" fontAlgn="base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rgbClr val="404040"/>
                </a:solidFill>
                <a:latin typeface="+mn-lt"/>
                <a:ea typeface="+mn-ea"/>
              </a:defRPr>
            </a:lvl9pPr>
          </a:lstStyle>
          <a:p>
            <a:pPr algn="just"/>
            <a:r>
              <a:rPr lang="ru-RU" sz="16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струкцией № 181-И предусмотрено установления </a:t>
            </a:r>
            <a:r>
              <a:rPr lang="ru-RU" sz="1600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гласованного </a:t>
            </a:r>
            <a:r>
              <a:rPr lang="ru-RU" sz="16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рядка между банком и резидентом по обмену документами и информацией в целях валютного контроля.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2510740"/>
              </p:ext>
            </p:extLst>
          </p:nvPr>
        </p:nvGraphicFramePr>
        <p:xfrm>
          <a:off x="457082" y="2852936"/>
          <a:ext cx="8352928" cy="3203011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4138148"/>
                <a:gridCol w="4214780"/>
              </a:tblGrid>
              <a:tr h="246688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Формы </a:t>
                      </a:r>
                      <a:r>
                        <a:rPr lang="ru-RU" sz="1100" baseline="0" dirty="0" smtClean="0"/>
                        <a:t>Банка России</a:t>
                      </a:r>
                      <a:endParaRPr lang="ru-RU" sz="1100" dirty="0"/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963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Формы  Банка</a:t>
                      </a:r>
                      <a:endParaRPr lang="ru-RU" sz="11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9639"/>
                    </a:solidFill>
                  </a:tcPr>
                </a:tc>
              </a:tr>
              <a:tr h="461000"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правка о подтверждающих документах</a:t>
                      </a:r>
                      <a:endParaRPr lang="ru-RU" sz="1400" kern="1200" dirty="0" smtClean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Сведения об экспортном контракте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1328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Заявление о снятии с учета контракта (кредитного договора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1328"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едомость банковского контроля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Заявление о внесении изменений в раздел </a:t>
                      </a:r>
                      <a:r>
                        <a:rPr lang="en-US" sz="1400" b="1" kern="1200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I </a:t>
                      </a: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Ведомости банковского контроля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9112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Сведения о валютной операци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3645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anose="02020603050405020304" pitchFamily="18" charset="0"/>
                        </a:rPr>
                        <a:t>Рекомендуемая форма сопроводительного письма при представлении контракта (кредитного договора) для его постановки на учет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5979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* Форма используется при представлении документов и информации  на бумажном носителе.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rtl="0"/>
                      <a:endParaRPr lang="ru-RU" sz="1000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6" name="irc_mi" descr="f742ba3d3d1414b872f9737c67b9c66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066800"/>
            <a:ext cx="1512000" cy="1370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1754367" y="1974776"/>
            <a:ext cx="718232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мен между Банком и Клиентом документами и информацией может осуществляться в электронном виде с использованием системы ДБО или на бумажных носителях через ВСП.</a:t>
            </a:r>
          </a:p>
        </p:txBody>
      </p:sp>
    </p:spTree>
    <p:extLst>
      <p:ext uri="{BB962C8B-B14F-4D97-AF65-F5344CB8AC3E}">
        <p14:creationId xmlns:p14="http://schemas.microsoft.com/office/powerpoint/2010/main" val="2173846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11" t="12111" r="5832" b="15223"/>
          <a:stretch/>
        </p:blipFill>
        <p:spPr bwMode="auto">
          <a:xfrm>
            <a:off x="539553" y="1556792"/>
            <a:ext cx="8465760" cy="4789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755576" y="282848"/>
            <a:ext cx="5905500" cy="48185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ru-RU" sz="1600" kern="1200" dirty="0" smtClean="0">
                <a:latin typeface="Arial"/>
              </a:rPr>
              <a:t>Справка о подтверждающих документах</a:t>
            </a:r>
            <a:br>
              <a:rPr lang="ru-RU" sz="1600" kern="1200" dirty="0" smtClean="0">
                <a:latin typeface="Arial"/>
              </a:rPr>
            </a:br>
            <a:r>
              <a:rPr lang="ru-RU" sz="1600" kern="1200" dirty="0" smtClean="0">
                <a:latin typeface="Arial"/>
              </a:rPr>
              <a:t>(Приложение 6 к 181-И</a:t>
            </a:r>
            <a:r>
              <a:rPr lang="ru-RU" sz="1600" kern="1200" dirty="0">
                <a:latin typeface="Arial"/>
              </a:rPr>
              <a:t>)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39552" y="908720"/>
            <a:ext cx="82089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>
              <a:solidFill>
                <a:srgbClr val="000000"/>
              </a:solidFill>
            </a:endParaRPr>
          </a:p>
          <a:p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зменение </a:t>
            </a:r>
            <a:r>
              <a:rPr lang="ru-RU"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ы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рядка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оформления Справки о подтверждающих документах 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 bwMode="auto">
          <a:xfrm>
            <a:off x="8089540" y="3212976"/>
            <a:ext cx="853244" cy="1944216"/>
          </a:xfrm>
          <a:prstGeom prst="roundRect">
            <a:avLst/>
          </a:prstGeom>
          <a:noFill/>
          <a:ln w="349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7" name="Двенадцатиугольник 6"/>
          <p:cNvSpPr/>
          <p:nvPr/>
        </p:nvSpPr>
        <p:spPr bwMode="auto">
          <a:xfrm>
            <a:off x="7452321" y="764704"/>
            <a:ext cx="1552992" cy="792088"/>
          </a:xfrm>
          <a:prstGeom prst="dodecagon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ea typeface="ヒラギノ角ゴ Pro W3" pitchFamily="-128" charset="-128"/>
              </a:rPr>
              <a:t>15 раб. дней следующего месяца !</a:t>
            </a:r>
          </a:p>
        </p:txBody>
      </p:sp>
    </p:spTree>
    <p:extLst>
      <p:ext uri="{BB962C8B-B14F-4D97-AF65-F5344CB8AC3E}">
        <p14:creationId xmlns:p14="http://schemas.microsoft.com/office/powerpoint/2010/main" val="3236099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755576" y="282848"/>
            <a:ext cx="5905500" cy="48185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ru-RU" sz="1600" kern="1200" dirty="0" smtClean="0">
                <a:latin typeface="Arial"/>
              </a:rPr>
              <a:t>Ведомость банковского контроля</a:t>
            </a:r>
            <a:br>
              <a:rPr lang="ru-RU" sz="1600" kern="1200" dirty="0" smtClean="0">
                <a:latin typeface="Arial"/>
              </a:rPr>
            </a:br>
            <a:r>
              <a:rPr lang="ru-RU" sz="1600" kern="1200" dirty="0" smtClean="0">
                <a:latin typeface="Arial"/>
              </a:rPr>
              <a:t>(</a:t>
            </a:r>
            <a:r>
              <a:rPr lang="ru-RU" sz="1600" kern="1200" smtClean="0">
                <a:latin typeface="Arial"/>
              </a:rPr>
              <a:t>Приложение 4 </a:t>
            </a:r>
            <a:r>
              <a:rPr lang="ru-RU" sz="1600" kern="1200" dirty="0" smtClean="0">
                <a:latin typeface="Arial"/>
              </a:rPr>
              <a:t>к 181-И</a:t>
            </a:r>
            <a:r>
              <a:rPr lang="ru-RU" sz="1600" kern="1200" dirty="0">
                <a:latin typeface="Arial"/>
              </a:rPr>
              <a:t>)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39552" y="908720"/>
            <a:ext cx="82089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>
              <a:solidFill>
                <a:srgbClr val="000000"/>
              </a:solidFill>
            </a:endParaRPr>
          </a:p>
          <a:p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едомость банковского контроля (раздел I)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749" y="1431940"/>
            <a:ext cx="7758683" cy="5218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Овал 5"/>
          <p:cNvSpPr/>
          <p:nvPr/>
        </p:nvSpPr>
        <p:spPr bwMode="auto">
          <a:xfrm>
            <a:off x="818705" y="2320309"/>
            <a:ext cx="2690037" cy="385430"/>
          </a:xfrm>
          <a:prstGeom prst="ellipse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7" name="Овал 6"/>
          <p:cNvSpPr/>
          <p:nvPr/>
        </p:nvSpPr>
        <p:spPr bwMode="auto">
          <a:xfrm>
            <a:off x="3646968" y="2593671"/>
            <a:ext cx="2902688" cy="385430"/>
          </a:xfrm>
          <a:prstGeom prst="ellipse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919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755576" y="282848"/>
            <a:ext cx="5905500" cy="48185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ru-RU" sz="1600" kern="1200" dirty="0" smtClean="0">
                <a:latin typeface="Arial"/>
              </a:rPr>
              <a:t>Ведомость банковского контроля</a:t>
            </a:r>
            <a:br>
              <a:rPr lang="ru-RU" sz="1600" kern="1200" dirty="0" smtClean="0">
                <a:latin typeface="Arial"/>
              </a:rPr>
            </a:br>
            <a:r>
              <a:rPr lang="ru-RU" sz="1600" kern="1200" dirty="0" smtClean="0">
                <a:latin typeface="Arial"/>
              </a:rPr>
              <a:t>(</a:t>
            </a:r>
            <a:r>
              <a:rPr lang="ru-RU" sz="1600" kern="1200" smtClean="0">
                <a:latin typeface="Arial"/>
              </a:rPr>
              <a:t>Приложение 4 </a:t>
            </a:r>
            <a:r>
              <a:rPr lang="ru-RU" sz="1600" kern="1200" dirty="0" smtClean="0">
                <a:latin typeface="Arial"/>
              </a:rPr>
              <a:t>к 181-И</a:t>
            </a:r>
            <a:r>
              <a:rPr lang="ru-RU" sz="1600" kern="1200" dirty="0">
                <a:latin typeface="Arial"/>
              </a:rPr>
              <a:t>)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39552" y="908720"/>
            <a:ext cx="82089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>
              <a:solidFill>
                <a:srgbClr val="000000"/>
              </a:solidFill>
            </a:endParaRPr>
          </a:p>
          <a:p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едомость банковского контроля (раздел I)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786" y="1455232"/>
            <a:ext cx="7974418" cy="4917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676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755576" y="282848"/>
            <a:ext cx="5905500" cy="48185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ru-RU" sz="1600" kern="1200" dirty="0" smtClean="0">
                <a:latin typeface="Arial"/>
              </a:rPr>
              <a:t/>
            </a:r>
            <a:br>
              <a:rPr lang="ru-RU" sz="1600" kern="1200" dirty="0" smtClean="0">
                <a:latin typeface="Arial"/>
              </a:rPr>
            </a:br>
            <a:r>
              <a:rPr lang="ru-RU" sz="1600" kern="1200" dirty="0" smtClean="0">
                <a:latin typeface="Arial"/>
              </a:rPr>
              <a:t>Сведения о валютной операции</a:t>
            </a:r>
            <a:endParaRPr lang="ru-RU" sz="1600" kern="1200" dirty="0">
              <a:latin typeface="Arial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836712"/>
            <a:ext cx="8311579" cy="5645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2477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68" y="188640"/>
            <a:ext cx="6192688" cy="673100"/>
          </a:xfrm>
        </p:spPr>
        <p:txBody>
          <a:bodyPr>
            <a:noAutofit/>
          </a:bodyPr>
          <a:lstStyle/>
          <a:p>
            <a:r>
              <a:rPr lang="ru-RU" sz="1600" kern="1200" dirty="0">
                <a:latin typeface="Arial"/>
              </a:rPr>
              <a:t>Требование о постановке контракта (кредитного договора) на учет в уполномоченном банке (Гл. 4 181-И)</a:t>
            </a:r>
          </a:p>
        </p:txBody>
      </p:sp>
      <p:sp>
        <p:nvSpPr>
          <p:cNvPr id="65" name="AutoShape 3"/>
          <p:cNvSpPr>
            <a:spLocks noChangeArrowheads="1"/>
          </p:cNvSpPr>
          <p:nvPr/>
        </p:nvSpPr>
        <p:spPr bwMode="auto">
          <a:xfrm>
            <a:off x="635948" y="908720"/>
            <a:ext cx="8136904" cy="720080"/>
          </a:xfrm>
          <a:prstGeom prst="flowChartProcess">
            <a:avLst/>
          </a:prstGeom>
          <a:solidFill>
            <a:schemeClr val="accent3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  <a:scene3d>
            <a:camera prst="orthographicFront"/>
            <a:lightRig rig="balanced" dir="t"/>
          </a:scene3d>
          <a:sp3d>
            <a:bevelB w="114300" prst="artDeco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/>
            <a:r>
              <a:rPr lang="ru-RU" altLang="ru-RU" sz="1300" b="1" dirty="0" smtClean="0">
                <a:latin typeface="Times New Roman" pitchFamily="18" charset="0"/>
                <a:cs typeface="Times New Roman" pitchFamily="18" charset="0"/>
              </a:rPr>
              <a:t>Требование о постановке контракта на учет распространяется на   </a:t>
            </a:r>
            <a:r>
              <a:rPr lang="ru-RU" altLang="ru-RU" sz="13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договоры </a:t>
            </a:r>
            <a:r>
              <a:rPr lang="ru-RU" altLang="ru-RU" sz="13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контракты), заключенные между </a:t>
            </a:r>
            <a:r>
              <a:rPr lang="ru-RU" altLang="ru-RU" sz="13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езидентами и нерезидентами</a:t>
            </a:r>
            <a:r>
              <a:rPr lang="ru-RU" altLang="ru-RU" sz="13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altLang="ru-RU" sz="13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редусматривающие </a:t>
            </a:r>
            <a:r>
              <a:rPr lang="ru-RU" altLang="ru-RU" sz="13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существление расчетов </a:t>
            </a:r>
            <a:r>
              <a:rPr lang="ru-RU" altLang="ru-RU" sz="13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через счета резидентов, </a:t>
            </a:r>
            <a:r>
              <a:rPr lang="ru-RU" altLang="ru-RU" sz="13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ткрытых </a:t>
            </a:r>
            <a:r>
              <a:rPr lang="ru-RU" altLang="ru-RU" sz="13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в уполномоченных </a:t>
            </a:r>
            <a:r>
              <a:rPr lang="ru-RU" altLang="ru-RU" sz="13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банках </a:t>
            </a:r>
            <a:r>
              <a:rPr lang="ru-RU" altLang="ru-RU" sz="13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и (или) </a:t>
            </a:r>
            <a:r>
              <a:rPr lang="ru-RU" altLang="ru-RU" sz="13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13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в банках-нерезидентах</a:t>
            </a:r>
          </a:p>
          <a:p>
            <a:pPr lvl="0" algn="ctr"/>
            <a:r>
              <a:rPr lang="ru-RU" altLang="ru-RU" sz="13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altLang="ru-RU" sz="1300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altLang="ru-RU" sz="1400" b="1" dirty="0" smtClean="0">
                <a:latin typeface="Times New Roman" pitchFamily="18" charset="0"/>
                <a:cs typeface="Times New Roman" pitchFamily="18" charset="0"/>
              </a:rPr>
              <a:t>  </a:t>
            </a:r>
          </a:p>
        </p:txBody>
      </p:sp>
      <p:sp>
        <p:nvSpPr>
          <p:cNvPr id="68" name="AutoShape 4"/>
          <p:cNvSpPr>
            <a:spLocks noChangeArrowheads="1"/>
          </p:cNvSpPr>
          <p:nvPr/>
        </p:nvSpPr>
        <p:spPr bwMode="auto">
          <a:xfrm>
            <a:off x="635948" y="1700808"/>
            <a:ext cx="8136904" cy="504056"/>
          </a:xfrm>
          <a:prstGeom prst="flowChartProcess">
            <a:avLst/>
          </a:prstGeom>
          <a:solidFill>
            <a:schemeClr val="accent3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  <a:scene3d>
            <a:camera prst="orthographicFront"/>
            <a:lightRig rig="balanced" dir="t"/>
          </a:scene3d>
          <a:sp3d>
            <a:bevelB w="114300" prst="artDeco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altLang="ru-RU" sz="1400" b="1" dirty="0">
                <a:latin typeface="Times New Roman" pitchFamily="18" charset="0"/>
                <a:cs typeface="Times New Roman" pitchFamily="18" charset="0"/>
              </a:rPr>
              <a:t>Сумма обязательств по контракту (кредитному договору)   на дату заключения контракта </a:t>
            </a:r>
          </a:p>
          <a:p>
            <a:pPr algn="ctr"/>
            <a:r>
              <a:rPr lang="ru-RU" altLang="ru-RU" sz="1400" b="1" dirty="0">
                <a:latin typeface="Times New Roman" pitchFamily="18" charset="0"/>
                <a:cs typeface="Times New Roman" pitchFamily="18" charset="0"/>
              </a:rPr>
              <a:t>равна или превышает:</a:t>
            </a:r>
          </a:p>
        </p:txBody>
      </p:sp>
      <p:sp>
        <p:nvSpPr>
          <p:cNvPr id="8" name="AutoShape 4"/>
          <p:cNvSpPr>
            <a:spLocks noChangeArrowheads="1"/>
          </p:cNvSpPr>
          <p:nvPr/>
        </p:nvSpPr>
        <p:spPr bwMode="auto">
          <a:xfrm>
            <a:off x="675405" y="2280707"/>
            <a:ext cx="4008060" cy="576064"/>
          </a:xfrm>
          <a:prstGeom prst="flowChartProcess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ЭКСПОРТ</a:t>
            </a:r>
            <a:endParaRPr kumimoji="0" lang="ru-RU" alt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 млн. руб</a:t>
            </a:r>
            <a:r>
              <a:rPr lang="ru-RU" alt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kumimoji="0" lang="ru-RU" altLang="ru-RU" sz="16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AutoShape 4"/>
          <p:cNvSpPr>
            <a:spLocks noChangeArrowheads="1"/>
          </p:cNvSpPr>
          <p:nvPr/>
        </p:nvSpPr>
        <p:spPr bwMode="auto">
          <a:xfrm>
            <a:off x="4788024" y="2280707"/>
            <a:ext cx="3912820" cy="572229"/>
          </a:xfrm>
          <a:prstGeom prst="flowChartProcess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МПОРТ </a:t>
            </a:r>
            <a:r>
              <a:rPr lang="en-US" alt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lang="ru-RU" alt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КРЕДИТНЫЙ</a:t>
            </a:r>
            <a:endParaRPr lang="ru-RU" alt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млн. руб.</a:t>
            </a:r>
          </a:p>
        </p:txBody>
      </p:sp>
      <p:graphicFrame>
        <p:nvGraphicFramePr>
          <p:cNvPr id="12" name="Схема 11"/>
          <p:cNvGraphicFramePr/>
          <p:nvPr>
            <p:extLst>
              <p:ext uri="{D42A27DB-BD31-4B8C-83A1-F6EECF244321}">
                <p14:modId xmlns:p14="http://schemas.microsoft.com/office/powerpoint/2010/main" val="1803175671"/>
              </p:ext>
            </p:extLst>
          </p:nvPr>
        </p:nvGraphicFramePr>
        <p:xfrm>
          <a:off x="611560" y="2852936"/>
          <a:ext cx="8208912" cy="38214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01235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POEq4ppdIUKksL0_qduF.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ycjG4mi6NU2q4j1tYBPK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XW463T50eKaJK4Dri3.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vro3D.oE2lF.QXcz.U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XW463T50eKaJK4Dri3.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vvC6H900afGVsP.5sU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POEq4ppdIUKksL0_qduF.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ycjG4mi6NU2q4j1tYBPKr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vro3D.oE2lF.QXcz.U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vvC6H900afGVsP.5sUWw"/>
</p:tagLst>
</file>

<file path=ppt/theme/theme1.xml><?xml version="1.0" encoding="utf-8"?>
<a:theme xmlns:a="http://schemas.openxmlformats.org/drawingml/2006/main" name="sber_present_gedonizm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Литейная">
      <a:dk1>
        <a:sysClr val="windowText" lastClr="000000"/>
      </a:dk1>
      <a:lt1>
        <a:sysClr val="window" lastClr="FFFFFF"/>
      </a:lt1>
      <a:dk2>
        <a:srgbClr val="676A55"/>
      </a:dk2>
      <a:lt2>
        <a:srgbClr val="EAEBDE"/>
      </a:lt2>
      <a:accent1>
        <a:srgbClr val="72A376"/>
      </a:accent1>
      <a:accent2>
        <a:srgbClr val="B0CCB0"/>
      </a:accent2>
      <a:accent3>
        <a:srgbClr val="A8CDD7"/>
      </a:accent3>
      <a:accent4>
        <a:srgbClr val="C0BEAF"/>
      </a:accent4>
      <a:accent5>
        <a:srgbClr val="CEC597"/>
      </a:accent5>
      <a:accent6>
        <a:srgbClr val="E8B7B7"/>
      </a:accent6>
      <a:hlink>
        <a:srgbClr val="DB5353"/>
      </a:hlink>
      <a:folHlink>
        <a:srgbClr val="903638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CD64D"/>
        </a:solidFill>
        <a:ln w="19050" cap="flat" cmpd="sng" algn="ctr">
          <a:noFill/>
          <a:prstDash val="solid"/>
        </a:ln>
        <a:effectLst/>
      </a:spPr>
      <a:bodyPr lIns="0" tIns="0" rIns="0" bIns="0" rtlCol="0" anchor="ctr"/>
      <a:lstStyle>
        <a:defPPr algn="ctr" defTabSz="981154">
          <a:defRPr sz="2000" kern="0" dirty="0">
            <a:solidFill>
              <a:srgbClr val="000000"/>
            </a:solidFill>
            <a:latin typeface="+mj-lt"/>
          </a:defRPr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CD64D"/>
        </a:solidFill>
        <a:ln w="19050" cap="flat" cmpd="sng" algn="ctr">
          <a:noFill/>
          <a:prstDash val="solid"/>
        </a:ln>
        <a:effectLst/>
      </a:spPr>
      <a:bodyPr lIns="0" tIns="0" rIns="0" bIns="0" rtlCol="0" anchor="ctr"/>
      <a:lstStyle>
        <a:defPPr algn="ctr" defTabSz="981154">
          <a:defRPr sz="2000" kern="0" dirty="0">
            <a:solidFill>
              <a:srgbClr val="000000"/>
            </a:solidFill>
            <a:latin typeface="+mj-lt"/>
          </a:defRPr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870</TotalTime>
  <Words>1830</Words>
  <Application>Microsoft Office PowerPoint</Application>
  <PresentationFormat>Экран (4:3)</PresentationFormat>
  <Paragraphs>194</Paragraphs>
  <Slides>15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0" baseType="lpstr">
      <vt:lpstr>sber_present_gedonizm1</vt:lpstr>
      <vt:lpstr>Тема Office</vt:lpstr>
      <vt:lpstr>3_Firm Format - Russian</vt:lpstr>
      <vt:lpstr>4_Firm Format - Russian</vt:lpstr>
      <vt:lpstr>think-cell Slide</vt:lpstr>
      <vt:lpstr> Краткий обзор изменений  в Валютном контроле с 01.03.2018г. (не включает порядок списания и зачисления ДС) </vt:lpstr>
      <vt:lpstr>Презентация PowerPoint</vt:lpstr>
      <vt:lpstr>Презентация PowerPoint</vt:lpstr>
      <vt:lpstr>Документооборот между Банком и Резидентом</vt:lpstr>
      <vt:lpstr>Справка о подтверждающих документах (Приложение 6 к 181-И)</vt:lpstr>
      <vt:lpstr>Ведомость банковского контроля (Приложение 4 к 181-И)</vt:lpstr>
      <vt:lpstr>Ведомость банковского контроля (Приложение 4 к 181-И)</vt:lpstr>
      <vt:lpstr> Сведения о валютной операции</vt:lpstr>
      <vt:lpstr>Требование о постановке контракта (кредитного договора) на учет в уполномоченном банке (Гл. 4 181-И)</vt:lpstr>
      <vt:lpstr>Постановка контракта на учет в банк  (Гл. 5 181-И)</vt:lpstr>
      <vt:lpstr>Сроки постановки на учет контракта  (кредитного договора) (Гл. 5 181-И)</vt:lpstr>
      <vt:lpstr>Внесение изменений в контракт (кредитный договор)  (Гл. 7 181-И):  Заявление + Документы/Информация-основание*</vt:lpstr>
      <vt:lpstr>Снятие с учета контракта  (кредитного договора) (Гл. 6 181-И)</vt:lpstr>
      <vt:lpstr> Федеральный закон № 325-ФЗ от 14.11.2017  (вступает в силу с 14.05.2018 года)</vt:lpstr>
      <vt:lpstr>Центр компетенций по  Внешнеэкономической деятельности 8-800-200-94-45 </vt:lpstr>
    </vt:vector>
  </TitlesOfParts>
  <Company>ОАО Сбербанк России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омашов Дмитрий Павлович</dc:creator>
  <cp:lastModifiedBy>User</cp:lastModifiedBy>
  <cp:revision>332</cp:revision>
  <dcterms:created xsi:type="dcterms:W3CDTF">2013-06-10T07:30:12Z</dcterms:created>
  <dcterms:modified xsi:type="dcterms:W3CDTF">2018-02-26T15:07:00Z</dcterms:modified>
</cp:coreProperties>
</file>